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sldIdLst>
    <p:sldId id="2147375203" r:id="rId6"/>
    <p:sldId id="2147375204" r:id="rId7"/>
    <p:sldId id="2147375205" r:id="rId8"/>
    <p:sldId id="2147375206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14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1.emf"/><Relationship Id="rId4" Type="http://schemas.openxmlformats.org/officeDocument/2006/relationships/image" Target="../media/image2.jpeg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4.svg"/><Relationship Id="rId4" Type="http://schemas.openxmlformats.org/officeDocument/2006/relationships/image" Target="../media/image7.jpeg"/><Relationship Id="rId9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1.emf"/><Relationship Id="rId4" Type="http://schemas.openxmlformats.org/officeDocument/2006/relationships/image" Target="../media/image8.jpeg"/><Relationship Id="rId9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1.emf"/><Relationship Id="rId4" Type="http://schemas.openxmlformats.org/officeDocument/2006/relationships/image" Target="../media/image9.jpeg"/><Relationship Id="rId9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1.emf"/><Relationship Id="rId4" Type="http://schemas.openxmlformats.org/officeDocument/2006/relationships/image" Target="../media/image10.jpeg"/><Relationship Id="rId9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4.svg"/><Relationship Id="rId5" Type="http://schemas.openxmlformats.org/officeDocument/2006/relationships/image" Target="../media/image12.svg"/><Relationship Id="rId10" Type="http://schemas.openxmlformats.org/officeDocument/2006/relationships/image" Target="../media/image3.png"/><Relationship Id="rId4" Type="http://schemas.openxmlformats.org/officeDocument/2006/relationships/image" Target="../media/image11.png"/><Relationship Id="rId9" Type="http://schemas.openxmlformats.org/officeDocument/2006/relationships/image" Target="../media/image6.sv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4.svg"/><Relationship Id="rId5" Type="http://schemas.openxmlformats.org/officeDocument/2006/relationships/image" Target="../media/image12.svg"/><Relationship Id="rId10" Type="http://schemas.openxmlformats.org/officeDocument/2006/relationships/image" Target="../media/image3.png"/><Relationship Id="rId4" Type="http://schemas.openxmlformats.org/officeDocument/2006/relationships/image" Target="../media/image11.png"/><Relationship Id="rId9" Type="http://schemas.openxmlformats.org/officeDocument/2006/relationships/image" Target="../media/image6.sv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4.svg"/><Relationship Id="rId5" Type="http://schemas.openxmlformats.org/officeDocument/2006/relationships/image" Target="../media/image12.svg"/><Relationship Id="rId10" Type="http://schemas.openxmlformats.org/officeDocument/2006/relationships/image" Target="../media/image3.png"/><Relationship Id="rId4" Type="http://schemas.openxmlformats.org/officeDocument/2006/relationships/image" Target="../media/image11.png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sv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4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.sv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11" Type="http://schemas.openxmlformats.org/officeDocument/2006/relationships/image" Target="../media/image6.svg"/><Relationship Id="rId5" Type="http://schemas.openxmlformats.org/officeDocument/2006/relationships/image" Target="../media/image16.svg"/><Relationship Id="rId10" Type="http://schemas.openxmlformats.org/officeDocument/2006/relationships/image" Target="../media/image5.png"/><Relationship Id="rId4" Type="http://schemas.openxmlformats.org/officeDocument/2006/relationships/image" Target="../media/image15.png"/><Relationship Id="rId9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4.svg"/><Relationship Id="rId4" Type="http://schemas.openxmlformats.org/officeDocument/2006/relationships/image" Target="../media/image3.png"/><Relationship Id="rId9" Type="http://schemas.openxmlformats.org/officeDocument/2006/relationships/image" Target="../media/image14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E4E23C-7482-0188-5A1F-02EEB9958F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695927D-C6EA-2EAC-0CB0-B132EACED7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5B6BE0D-0DCC-2142-41E5-A7C74665C1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7EA26B-1C9E-4E02-31C1-2D4A5D65B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9F75C-1672-0DFD-67F0-D9E4E9C23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28972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4CDF7B-AF01-B2C7-2EF8-C76E936ED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8A1D87B-E7D2-D63E-283C-628EC73D21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EFF8C40-43B6-FF9C-6E21-C23182E5C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5E2BF7-DE78-2E2C-0553-A91F898A1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EC738D-0B9A-91FB-3957-41E828D7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350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D9CF78C-C8B5-2DE0-E051-7E094797DF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87C92D7-EF44-21AF-2825-673BFF8B1D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441BB03-BAFE-7DBE-E8F6-FADD4CD896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BE313EC-4D0D-F8FF-CB01-B935872F6D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3DDDB9B-80A7-F961-22B3-FD5BDECEC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18958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Planet">
    <p:bg>
      <p:bgPr>
        <a:solidFill>
          <a:srgbClr val="070E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1F212F23-6946-4FE3-B574-887FB2DAE861}"/>
              </a:ext>
            </a:extLst>
          </p:cNvPr>
          <p:cNvSpPr/>
          <p:nvPr userDrawn="1"/>
        </p:nvSpPr>
        <p:spPr>
          <a:xfrm>
            <a:off x="0" y="5737436"/>
            <a:ext cx="12192000" cy="1147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8098EB-4941-5942-8566-90E60FF2C4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227" b="347"/>
          <a:stretch/>
        </p:blipFill>
        <p:spPr>
          <a:xfrm>
            <a:off x="12074" y="1"/>
            <a:ext cx="12167853" cy="5687572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76DE6452-902E-0E4A-BE02-7AC22CCE9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V="1">
            <a:off x="0" y="5688938"/>
            <a:ext cx="12192000" cy="60959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380D371-AA24-48B4-B3D8-C138CF57E4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201" y="4407119"/>
            <a:ext cx="9799244" cy="51706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>
              <a:defRPr sz="3733" b="0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ADAEAAA7-CADD-4746-BFF8-88A9F526B4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1201" y="5100975"/>
            <a:ext cx="9799244" cy="2585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67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en-US"/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63C07F76-9B47-3D41-A9B9-EEFE856C31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57965" y="481411"/>
            <a:ext cx="1292660" cy="221599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F5B498B-DA0E-45F8-B219-C6B0D40A9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502908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9" imgW="473" imgH="476" progId="TCLayout.ActiveDocument.1">
                  <p:embed/>
                </p:oleObj>
              </mc:Choice>
              <mc:Fallback>
                <p:oleObj name="think-cell Folie" r:id="rId9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F5B498B-DA0E-45F8-B219-C6B0D40A9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97C7970-9276-42F7-8C2F-B15D594ECF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200" y="5985666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dressat, Nam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B3E635E-9D43-4360-A96A-13F9F21AC3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1200" y="6301362"/>
            <a:ext cx="1768685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Datum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C6F6DCE1-5057-4836-9A3C-B7EBAB260D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2496" y="5982603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Firma / Institut (Ersteller)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FE931B2-1407-4519-B211-45195CB331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2496" y="6311291"/>
            <a:ext cx="5748304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utor, Name (Ersteller)</a:t>
            </a:r>
          </a:p>
        </p:txBody>
      </p:sp>
    </p:spTree>
    <p:extLst>
      <p:ext uri="{BB962C8B-B14F-4D97-AF65-F5344CB8AC3E}">
        <p14:creationId xmlns:p14="http://schemas.microsoft.com/office/powerpoint/2010/main" val="1150195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3" pos="5602">
          <p15:clr>
            <a:srgbClr val="FBAE40"/>
          </p15:clr>
        </p15:guide>
        <p15:guide id="4" pos="15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Data Loop">
    <p:bg>
      <p:bgPr>
        <a:solidFill>
          <a:srgbClr val="070E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1F212F23-6946-4FE3-B574-887FB2DAE861}"/>
              </a:ext>
            </a:extLst>
          </p:cNvPr>
          <p:cNvSpPr/>
          <p:nvPr userDrawn="1"/>
        </p:nvSpPr>
        <p:spPr>
          <a:xfrm>
            <a:off x="0" y="5737436"/>
            <a:ext cx="12192000" cy="1147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8098EB-4941-5942-8566-90E60FF2C4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12072" y="0"/>
            <a:ext cx="12167857" cy="56896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3C07F76-9B47-3D41-A9B9-EEFE856C316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57965" y="481411"/>
            <a:ext cx="1292660" cy="221599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F5B498B-DA0E-45F8-B219-C6B0D40A9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63066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Folie" r:id="rId7" imgW="473" imgH="476" progId="TCLayout.ActiveDocument.1">
                  <p:embed/>
                </p:oleObj>
              </mc:Choice>
              <mc:Fallback>
                <p:oleObj name="think-cell Folie" r:id="rId7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F5B498B-DA0E-45F8-B219-C6B0D40A9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36">
            <a:extLst>
              <a:ext uri="{FF2B5EF4-FFF2-40B4-BE49-F238E27FC236}">
                <a16:creationId xmlns:a16="http://schemas.microsoft.com/office/drawing/2014/main" id="{58F94962-36F7-4698-8D46-DCD71B31DA6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V="1">
            <a:off x="0" y="5688938"/>
            <a:ext cx="12192000" cy="6095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7312496C-53DD-4A7F-A1F2-2A4B536B6F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201" y="4407119"/>
            <a:ext cx="9799244" cy="51706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>
              <a:defRPr sz="3733" b="0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2E4811A-E3C3-481A-AE23-99B938D63E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1201" y="5100975"/>
            <a:ext cx="9799244" cy="2585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67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en-US"/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DBEF4B41-AB47-4038-A901-AFFEADAD61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200" y="5985666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dressat, Name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95AD54E5-EF47-4A83-89D9-60B4D16DD4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1200" y="6301362"/>
            <a:ext cx="1768685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Datum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FABD411F-DF95-4FB8-A63E-8838E491E2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2496" y="5982603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Firma / Institut (Ersteller)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A2341EA3-74B4-4FC3-8181-48204AD01B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2496" y="6311291"/>
            <a:ext cx="5748304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utor, Name (Ersteller)</a:t>
            </a:r>
          </a:p>
        </p:txBody>
      </p:sp>
    </p:spTree>
    <p:extLst>
      <p:ext uri="{BB962C8B-B14F-4D97-AF65-F5344CB8AC3E}">
        <p14:creationId xmlns:p14="http://schemas.microsoft.com/office/powerpoint/2010/main" val="2345761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3" pos="5602">
          <p15:clr>
            <a:srgbClr val="FBAE40"/>
          </p15:clr>
        </p15:guide>
        <p15:guide id="4" pos="15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_Re-Deployment">
    <p:bg>
      <p:bgPr>
        <a:solidFill>
          <a:srgbClr val="070E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1F212F23-6946-4FE3-B574-887FB2DAE861}"/>
              </a:ext>
            </a:extLst>
          </p:cNvPr>
          <p:cNvSpPr/>
          <p:nvPr userDrawn="1"/>
        </p:nvSpPr>
        <p:spPr>
          <a:xfrm>
            <a:off x="0" y="5737436"/>
            <a:ext cx="12192000" cy="1147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8098EB-4941-5942-8566-90E60FF2C4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12072" y="16933"/>
            <a:ext cx="12167857" cy="56896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76DE6452-902E-0E4A-BE02-7AC22CCE9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V="1">
            <a:off x="0" y="5688938"/>
            <a:ext cx="12192000" cy="6095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3C07F76-9B47-3D41-A9B9-EEFE856C31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57965" y="481411"/>
            <a:ext cx="1292660" cy="221599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F5B498B-DA0E-45F8-B219-C6B0D40A9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17139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Folie" r:id="rId9" imgW="473" imgH="476" progId="TCLayout.ActiveDocument.1">
                  <p:embed/>
                </p:oleObj>
              </mc:Choice>
              <mc:Fallback>
                <p:oleObj name="think-cell Folie" r:id="rId9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F5B498B-DA0E-45F8-B219-C6B0D40A9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36">
            <a:extLst>
              <a:ext uri="{FF2B5EF4-FFF2-40B4-BE49-F238E27FC236}">
                <a16:creationId xmlns:a16="http://schemas.microsoft.com/office/drawing/2014/main" id="{B9ED4349-5783-463B-AFE2-C931AD211E8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V="1">
            <a:off x="0" y="5688938"/>
            <a:ext cx="12192000" cy="60959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2BAA630-B036-4F50-9397-D211ED406D2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201" y="4407119"/>
            <a:ext cx="9799244" cy="51706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>
              <a:defRPr sz="3733" b="0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D40921D-B3A4-4F0C-91EA-DD66ADA04A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1201" y="5100975"/>
            <a:ext cx="9799244" cy="2585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67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en-US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6F531615-8084-453D-AD40-04B5D36064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200" y="5985666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dressat, Nam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F4845883-43E3-4659-A87A-9CEB7BFDD9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1200" y="6301362"/>
            <a:ext cx="1768685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Datum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2766FB11-C1E2-482B-86D6-252581482F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2496" y="5982603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Firma / Institut (Ersteller)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12C8AD47-1400-4AD1-9E44-0763C485B1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2496" y="6311291"/>
            <a:ext cx="5748304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utor, Name (Ersteller)</a:t>
            </a:r>
          </a:p>
        </p:txBody>
      </p:sp>
    </p:spTree>
    <p:extLst>
      <p:ext uri="{BB962C8B-B14F-4D97-AF65-F5344CB8AC3E}">
        <p14:creationId xmlns:p14="http://schemas.microsoft.com/office/powerpoint/2010/main" val="3059241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3" pos="5602">
          <p15:clr>
            <a:srgbClr val="FBAE40"/>
          </p15:clr>
        </p15:guide>
        <p15:guide id="4" pos="15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_Digital Twin">
    <p:bg>
      <p:bgPr>
        <a:solidFill>
          <a:srgbClr val="070E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1F212F23-6946-4FE3-B574-887FB2DAE861}"/>
              </a:ext>
            </a:extLst>
          </p:cNvPr>
          <p:cNvSpPr/>
          <p:nvPr userDrawn="1"/>
        </p:nvSpPr>
        <p:spPr>
          <a:xfrm>
            <a:off x="0" y="5737436"/>
            <a:ext cx="12192000" cy="1147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8098EB-4941-5942-8566-90E60FF2C4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0"/>
            <a:ext cx="12192000" cy="56896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76DE6452-902E-0E4A-BE02-7AC22CCE9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V="1">
            <a:off x="0" y="5688938"/>
            <a:ext cx="12192000" cy="6095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3C07F76-9B47-3D41-A9B9-EEFE856C31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57965" y="481411"/>
            <a:ext cx="1292660" cy="221599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F5B498B-DA0E-45F8-B219-C6B0D40A9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39619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Folie" r:id="rId9" imgW="473" imgH="476" progId="TCLayout.ActiveDocument.1">
                  <p:embed/>
                </p:oleObj>
              </mc:Choice>
              <mc:Fallback>
                <p:oleObj name="think-cell Folie" r:id="rId9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F5B498B-DA0E-45F8-B219-C6B0D40A9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36">
            <a:extLst>
              <a:ext uri="{FF2B5EF4-FFF2-40B4-BE49-F238E27FC236}">
                <a16:creationId xmlns:a16="http://schemas.microsoft.com/office/drawing/2014/main" id="{8BE4514A-8D7D-463B-A036-808EC581E9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V="1">
            <a:off x="0" y="5688938"/>
            <a:ext cx="12192000" cy="60959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07959797-7F68-4509-8206-E3437AF303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201" y="4407119"/>
            <a:ext cx="9799244" cy="51706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>
              <a:defRPr sz="3733" b="0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5FBCD39-07F3-4022-ABAC-D31E7364F5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1201" y="5100975"/>
            <a:ext cx="9799244" cy="2585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67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en-US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7035BBD-5666-4046-8CAF-BDB195DDCE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200" y="5985666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dressat, Nam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D404D430-FBFE-428C-8890-0BFD3F4C44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1200" y="6301362"/>
            <a:ext cx="1768685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Datum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D40994DF-6D84-458D-AAAE-2DB4B62B6A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2496" y="5982603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Firma / Institut (Ersteller)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C105A47A-4A09-4A27-8418-4081ED5DF4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2496" y="6311291"/>
            <a:ext cx="5748304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utor, Name (Ersteller)</a:t>
            </a:r>
          </a:p>
        </p:txBody>
      </p:sp>
    </p:spTree>
    <p:extLst>
      <p:ext uri="{BB962C8B-B14F-4D97-AF65-F5344CB8AC3E}">
        <p14:creationId xmlns:p14="http://schemas.microsoft.com/office/powerpoint/2010/main" val="2544498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3" pos="5602">
          <p15:clr>
            <a:srgbClr val="FBAE40"/>
          </p15:clr>
        </p15:guide>
        <p15:guide id="4" pos="15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_Demonstrator">
    <p:bg>
      <p:bgPr>
        <a:solidFill>
          <a:srgbClr val="070E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1F212F23-6946-4FE3-B574-887FB2DAE861}"/>
              </a:ext>
            </a:extLst>
          </p:cNvPr>
          <p:cNvSpPr/>
          <p:nvPr userDrawn="1"/>
        </p:nvSpPr>
        <p:spPr>
          <a:xfrm>
            <a:off x="0" y="5737436"/>
            <a:ext cx="12192000" cy="1147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8098EB-4941-5942-8566-90E60FF2C4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460"/>
          <a:stretch/>
        </p:blipFill>
        <p:spPr>
          <a:xfrm>
            <a:off x="24144" y="17168"/>
            <a:ext cx="12167857" cy="5702305"/>
          </a:xfrm>
          <a:prstGeom prst="rect">
            <a:avLst/>
          </a:prstGeom>
          <a:ln>
            <a:noFill/>
          </a:ln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76DE6452-902E-0E4A-BE02-7AC22CCE9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V="1">
            <a:off x="0" y="5688938"/>
            <a:ext cx="12192000" cy="6095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3C07F76-9B47-3D41-A9B9-EEFE856C31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57965" y="481411"/>
            <a:ext cx="1292660" cy="221599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F5B498B-DA0E-45F8-B219-C6B0D40A9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07851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Folie" r:id="rId9" imgW="473" imgH="476" progId="TCLayout.ActiveDocument.1">
                  <p:embed/>
                </p:oleObj>
              </mc:Choice>
              <mc:Fallback>
                <p:oleObj name="think-cell Folie" r:id="rId9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F5B498B-DA0E-45F8-B219-C6B0D40A9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36">
            <a:extLst>
              <a:ext uri="{FF2B5EF4-FFF2-40B4-BE49-F238E27FC236}">
                <a16:creationId xmlns:a16="http://schemas.microsoft.com/office/drawing/2014/main" id="{6C89BA57-4A03-4FD2-BC80-3B80B8B3B7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V="1">
            <a:off x="0" y="5688938"/>
            <a:ext cx="12192000" cy="60959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0E8FBFA8-E7BF-4BDF-B154-A785035E765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201" y="4407119"/>
            <a:ext cx="9799244" cy="517064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>
              <a:defRPr sz="3733" b="0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9FC8E79-E1B9-4DB2-9E1F-867A8676C8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1201" y="5100975"/>
            <a:ext cx="9799244" cy="2585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67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en-US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4245E6D-917F-4B1F-85CB-DF7BE5227B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200" y="5985666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dressat, Nam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D7B1CDB-28D6-4956-8567-2E52A5F0EA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1200" y="6301362"/>
            <a:ext cx="1768685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Datum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39A1A0A8-64A2-4C73-BAAD-F2B379D6AD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2496" y="5982603"/>
            <a:ext cx="5748304" cy="304439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Firma / Institut (Ersteller)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9F8D0464-B0A0-4C41-B1AA-57FCBB5EA7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2496" y="6311291"/>
            <a:ext cx="5748304" cy="26100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r">
              <a:buFontTx/>
              <a:buNone/>
              <a:defRPr sz="1333" b="0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Autor, Name (Ersteller)</a:t>
            </a:r>
          </a:p>
        </p:txBody>
      </p:sp>
    </p:spTree>
    <p:extLst>
      <p:ext uri="{BB962C8B-B14F-4D97-AF65-F5344CB8AC3E}">
        <p14:creationId xmlns:p14="http://schemas.microsoft.com/office/powerpoint/2010/main" val="17058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3" pos="5602">
          <p15:clr>
            <a:srgbClr val="FBAE40"/>
          </p15:clr>
        </p15:guide>
        <p15:guide id="4" pos="15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+ Untertitel mit Inhalt_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2D6248-5B14-6245-A6DF-84F37580AEA9}"/>
              </a:ext>
            </a:extLst>
          </p:cNvPr>
          <p:cNvSpPr/>
          <p:nvPr userDrawn="1"/>
        </p:nvSpPr>
        <p:spPr>
          <a:xfrm>
            <a:off x="0" y="-14178"/>
            <a:ext cx="12192000" cy="1221919"/>
          </a:xfrm>
          <a:prstGeom prst="rect">
            <a:avLst/>
          </a:prstGeom>
          <a:solidFill>
            <a:srgbClr val="080F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S" sz="240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33D544CE-A37B-BB4D-AE93-41F1AA8BE9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-14178"/>
            <a:ext cx="12192000" cy="122191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0E63713-9BD6-4E4D-8D90-58DFB7F5A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467" y="347109"/>
            <a:ext cx="9792840" cy="332399"/>
          </a:xfrm>
          <a:prstGeom prst="rect">
            <a:avLst/>
          </a:prstGeom>
        </p:spPr>
        <p:txBody>
          <a:bodyPr vert="horz" wrap="square" tIns="0" bIns="0">
            <a:spAutoFit/>
          </a:bodyPr>
          <a:lstStyle>
            <a:lvl1pPr>
              <a:defRPr sz="2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2899900-BB4E-4557-932C-CBA908AE5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770109"/>
            <a:ext cx="9790872" cy="2215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Untertitel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E7783A7-C43E-4010-ABB7-6B203A63DA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707406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Folie" r:id="rId6" imgW="473" imgH="476" progId="TCLayout.ActiveDocument.1">
                  <p:embed/>
                </p:oleObj>
              </mc:Choice>
              <mc:Fallback>
                <p:oleObj name="think-cell Folie" r:id="rId6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E7783A7-C43E-4010-ABB7-6B203A63D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A01D6753-D4C0-F64F-9AD5-E451C8D0AF5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57965" y="481411"/>
            <a:ext cx="1292660" cy="2215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7FFA67-19DD-4998-94E4-1A53ED7232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467" y="1621019"/>
            <a:ext cx="11536701" cy="459498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  <a:lvl2pPr>
              <a:buClr>
                <a:schemeClr val="tx1"/>
              </a:buClr>
              <a:defRPr sz="1467"/>
            </a:lvl2pPr>
            <a:lvl3pPr>
              <a:buClr>
                <a:schemeClr val="tx1"/>
              </a:buClr>
              <a:defRPr sz="1467"/>
            </a:lvl3pPr>
            <a:lvl4pPr>
              <a:buClr>
                <a:schemeClr val="tx1"/>
              </a:buClr>
              <a:defRPr sz="1467"/>
            </a:lvl4pPr>
            <a:lvl5pPr>
              <a:buClr>
                <a:schemeClr val="tx1"/>
              </a:buClr>
              <a:defRPr sz="1467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46917A17-EA15-364A-A295-07ADD0FCBF3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V="1">
            <a:off x="0" y="1160958"/>
            <a:ext cx="12192000" cy="60959"/>
          </a:xfrm>
          <a:prstGeom prst="rect">
            <a:avLst/>
          </a:prstGeom>
        </p:spPr>
      </p:pic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7ACF268A-0E2D-4E49-88F6-8FF0D0697D84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32467" y="6420519"/>
            <a:ext cx="2759939" cy="365125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10.11.2023</a:t>
            </a:r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D19D7E4-C7BF-45DE-AA78-4EB3AE48A5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05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33" b="0" i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/>
              <a:t>SofDCar Consortium, funded by</a:t>
            </a:r>
            <a:endParaRPr lang="de-DE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E2747C3C-D196-45AA-8040-0D8F3B66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7963" y="6420519"/>
            <a:ext cx="1311204" cy="365125"/>
          </a:xfrm>
          <a:prstGeom prst="rect">
            <a:avLst/>
          </a:prstGeom>
        </p:spPr>
        <p:txBody>
          <a:bodyPr/>
          <a:lstStyle>
            <a:lvl1pPr algn="r">
              <a:defRPr sz="933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C09F1C-3B72-4207-BEA7-CEF3226CC2D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18789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+ Untertitel mit 2 Inhalten_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2D6248-5B14-6245-A6DF-84F37580AEA9}"/>
              </a:ext>
            </a:extLst>
          </p:cNvPr>
          <p:cNvSpPr/>
          <p:nvPr userDrawn="1"/>
        </p:nvSpPr>
        <p:spPr>
          <a:xfrm>
            <a:off x="0" y="-14178"/>
            <a:ext cx="12192000" cy="1221919"/>
          </a:xfrm>
          <a:prstGeom prst="rect">
            <a:avLst/>
          </a:prstGeom>
          <a:solidFill>
            <a:srgbClr val="080F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S" sz="240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33D544CE-A37B-BB4D-AE93-41F1AA8BE9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-14178"/>
            <a:ext cx="12192000" cy="122191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0E63713-9BD6-4E4D-8D90-58DFB7F5A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467" y="347109"/>
            <a:ext cx="9792840" cy="332399"/>
          </a:xfrm>
          <a:prstGeom prst="rect">
            <a:avLst/>
          </a:prstGeom>
        </p:spPr>
        <p:txBody>
          <a:bodyPr vert="horz" wrap="square" tIns="0" bIns="0">
            <a:spAutoFit/>
          </a:bodyPr>
          <a:lstStyle>
            <a:lvl1pPr>
              <a:defRPr sz="2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2899900-BB4E-4557-932C-CBA908AE5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770109"/>
            <a:ext cx="9790872" cy="2215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Untertitel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E7783A7-C43E-4010-ABB7-6B203A63DA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63091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Folie" r:id="rId6" imgW="473" imgH="476" progId="TCLayout.ActiveDocument.1">
                  <p:embed/>
                </p:oleObj>
              </mc:Choice>
              <mc:Fallback>
                <p:oleObj name="think-cell Folie" r:id="rId6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E7783A7-C43E-4010-ABB7-6B203A63D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A01D6753-D4C0-F64F-9AD5-E451C8D0AF5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57965" y="481411"/>
            <a:ext cx="1292660" cy="22159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6917A17-EA15-364A-A295-07ADD0FCBF3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V="1">
            <a:off x="0" y="1160958"/>
            <a:ext cx="12192000" cy="60959"/>
          </a:xfrm>
          <a:prstGeom prst="rect">
            <a:avLst/>
          </a:prstGeom>
        </p:spPr>
      </p:pic>
      <p:sp>
        <p:nvSpPr>
          <p:cNvPr id="15" name="Datumsplatzhalter 1">
            <a:extLst>
              <a:ext uri="{FF2B5EF4-FFF2-40B4-BE49-F238E27FC236}">
                <a16:creationId xmlns:a16="http://schemas.microsoft.com/office/drawing/2014/main" id="{96292B24-8DEE-4ACA-A412-0D47CFCB3EE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32467" y="6420519"/>
            <a:ext cx="2759939" cy="365125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10.11.2023</a:t>
            </a:r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04FC97CF-3E7F-44F5-ADAC-D95C7CD388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05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33" b="0" i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/>
              <a:t>SofDCar Consortium, funded by</a:t>
            </a:r>
            <a:endParaRPr lang="de-DE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1BBA7419-E3B4-4BDF-8E52-0DEA45F3B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7963" y="6420519"/>
            <a:ext cx="1311204" cy="365125"/>
          </a:xfrm>
          <a:prstGeom prst="rect">
            <a:avLst/>
          </a:prstGeom>
        </p:spPr>
        <p:txBody>
          <a:bodyPr/>
          <a:lstStyle>
            <a:lvl1pPr algn="r">
              <a:defRPr sz="933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C09F1C-3B72-4207-BEA7-CEF3226CC2D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1C3D8182-9BBA-452B-BA94-A4E1C10725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21018"/>
            <a:ext cx="5655733" cy="4555945"/>
          </a:xfrm>
        </p:spPr>
        <p:txBody>
          <a:bodyPr/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3" name="Straight Connector 15">
            <a:extLst>
              <a:ext uri="{FF2B5EF4-FFF2-40B4-BE49-F238E27FC236}">
                <a16:creationId xmlns:a16="http://schemas.microsoft.com/office/drawing/2014/main" id="{6A744BD1-6C40-4AE0-9B32-28B4FADE2801}"/>
              </a:ext>
            </a:extLst>
          </p:cNvPr>
          <p:cNvCxnSpPr>
            <a:cxnSpLocks/>
          </p:cNvCxnSpPr>
          <p:nvPr userDrawn="1"/>
        </p:nvCxnSpPr>
        <p:spPr>
          <a:xfrm>
            <a:off x="6087533" y="1621018"/>
            <a:ext cx="0" cy="455594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02D89DCA-4B64-4EE5-97EC-72A82A00DA2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32467" y="1621018"/>
            <a:ext cx="5655733" cy="4555945"/>
          </a:xfrm>
        </p:spPr>
        <p:txBody>
          <a:bodyPr/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799195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+ Untertitel mit 1/3 2/3 Inhalten_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2D6248-5B14-6245-A6DF-84F37580AEA9}"/>
              </a:ext>
            </a:extLst>
          </p:cNvPr>
          <p:cNvSpPr/>
          <p:nvPr userDrawn="1"/>
        </p:nvSpPr>
        <p:spPr>
          <a:xfrm>
            <a:off x="0" y="-14178"/>
            <a:ext cx="12192000" cy="1221919"/>
          </a:xfrm>
          <a:prstGeom prst="rect">
            <a:avLst/>
          </a:prstGeom>
          <a:solidFill>
            <a:srgbClr val="080F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S" sz="240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33D544CE-A37B-BB4D-AE93-41F1AA8BE9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-14178"/>
            <a:ext cx="12192000" cy="122191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0E63713-9BD6-4E4D-8D90-58DFB7F5A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467" y="347109"/>
            <a:ext cx="9792840" cy="332399"/>
          </a:xfrm>
          <a:prstGeom prst="rect">
            <a:avLst/>
          </a:prstGeom>
        </p:spPr>
        <p:txBody>
          <a:bodyPr vert="horz" wrap="square" tIns="0" bIns="0">
            <a:spAutoFit/>
          </a:bodyPr>
          <a:lstStyle>
            <a:lvl1pPr>
              <a:defRPr sz="2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2899900-BB4E-4557-932C-CBA908AE5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770109"/>
            <a:ext cx="9790872" cy="2215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Untertitel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E7783A7-C43E-4010-ABB7-6B203A63DA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8986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Folie" r:id="rId6" imgW="473" imgH="476" progId="TCLayout.ActiveDocument.1">
                  <p:embed/>
                </p:oleObj>
              </mc:Choice>
              <mc:Fallback>
                <p:oleObj name="think-cell Folie" r:id="rId6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E7783A7-C43E-4010-ABB7-6B203A63D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A01D6753-D4C0-F64F-9AD5-E451C8D0AF5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57965" y="481411"/>
            <a:ext cx="1292660" cy="22159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6917A17-EA15-364A-A295-07ADD0FCBF3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V="1">
            <a:off x="0" y="1160958"/>
            <a:ext cx="12192000" cy="60959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9DDF4B5-9478-A943-B7CD-09E495AD72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621020"/>
            <a:ext cx="7789333" cy="4555944"/>
          </a:xfrm>
        </p:spPr>
        <p:txBody>
          <a:bodyPr/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7930A29-1486-E645-B0D8-2DE51480F3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4433" y="1621020"/>
            <a:ext cx="3540284" cy="4555945"/>
          </a:xfrm>
        </p:spPr>
        <p:txBody>
          <a:bodyPr/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692F239-E2CF-984E-A360-8050EE1922AF}"/>
              </a:ext>
            </a:extLst>
          </p:cNvPr>
          <p:cNvCxnSpPr/>
          <p:nvPr userDrawn="1"/>
        </p:nvCxnSpPr>
        <p:spPr>
          <a:xfrm>
            <a:off x="3970341" y="1621018"/>
            <a:ext cx="0" cy="455594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umsplatzhalter 1">
            <a:extLst>
              <a:ext uri="{FF2B5EF4-FFF2-40B4-BE49-F238E27FC236}">
                <a16:creationId xmlns:a16="http://schemas.microsoft.com/office/drawing/2014/main" id="{9A821AC0-A165-4ABA-BB05-05F0C7C5CDE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32467" y="6420519"/>
            <a:ext cx="2759939" cy="365125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10.11.2023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A31AF61-2863-4997-AA33-695A4029C3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05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33" b="0" i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/>
              <a:t>SofDCar Consortium, funded by</a:t>
            </a:r>
            <a:endParaRPr lang="de-DE"/>
          </a:p>
        </p:txBody>
      </p:sp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8A0E91B1-FD3D-4BF9-9349-C42889803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7963" y="6420519"/>
            <a:ext cx="1311204" cy="365125"/>
          </a:xfrm>
          <a:prstGeom prst="rect">
            <a:avLst/>
          </a:prstGeom>
        </p:spPr>
        <p:txBody>
          <a:bodyPr/>
          <a:lstStyle>
            <a:lvl1pPr algn="r">
              <a:defRPr sz="933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C09F1C-3B72-4207-BEA7-CEF3226CC2D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76913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CF545F-9529-9FF2-B541-34D444D3D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61F6C15-41E7-647B-5792-F48A33C43F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1BD90C7-B692-BFD3-9DF6-E40D59E6FF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65A403-8284-966E-17C6-C289601A3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7B015A-5F6E-E4E0-0E7E-E52958E83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64844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 + Untertitel mit Inhalt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2D6248-5B14-6245-A6DF-84F37580AEA9}"/>
              </a:ext>
            </a:extLst>
          </p:cNvPr>
          <p:cNvSpPr/>
          <p:nvPr userDrawn="1"/>
        </p:nvSpPr>
        <p:spPr>
          <a:xfrm>
            <a:off x="0" y="-14178"/>
            <a:ext cx="12192000" cy="122191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63000">
                <a:schemeClr val="accent4">
                  <a:lumMod val="40000"/>
                  <a:lumOff val="60000"/>
                  <a:alpha val="7492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E63713-9BD6-4E4D-8D90-58DFB7F5A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467" y="347109"/>
            <a:ext cx="9792840" cy="332399"/>
          </a:xfrm>
          <a:prstGeom prst="rect">
            <a:avLst/>
          </a:prstGeom>
        </p:spPr>
        <p:txBody>
          <a:bodyPr vert="horz" wrap="square" tIns="0" bIns="0">
            <a:spAutoFit/>
          </a:bodyPr>
          <a:lstStyle>
            <a:lvl1pPr>
              <a:defRPr sz="2400" b="0" i="0" cap="none">
                <a:solidFill>
                  <a:srgbClr val="080F0A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2899900-BB4E-4557-932C-CBA908AE5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770109"/>
            <a:ext cx="9790872" cy="2215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rgbClr val="080F0A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Untertitel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E7783A7-C43E-4010-ABB7-6B203A63DA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34267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E7783A7-C43E-4010-ABB7-6B203A63D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A01D6753-D4C0-F64F-9AD5-E451C8D0AF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557964" y="481411"/>
            <a:ext cx="1292659" cy="2215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7FFA67-19DD-4998-94E4-1A53ED7232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467" y="1621019"/>
            <a:ext cx="11536701" cy="459498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  <a:lvl2pPr>
              <a:buClr>
                <a:schemeClr val="tx1"/>
              </a:buClr>
              <a:defRPr sz="1467"/>
            </a:lvl2pPr>
            <a:lvl3pPr>
              <a:buClr>
                <a:schemeClr val="tx1"/>
              </a:buClr>
              <a:defRPr sz="1467"/>
            </a:lvl3pPr>
            <a:lvl4pPr>
              <a:buClr>
                <a:schemeClr val="tx1"/>
              </a:buClr>
              <a:defRPr sz="1467"/>
            </a:lvl4pPr>
            <a:lvl5pPr>
              <a:buClr>
                <a:schemeClr val="tx1"/>
              </a:buClr>
              <a:defRPr sz="1467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46917A17-EA15-364A-A295-07ADD0FCBF3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V="1">
            <a:off x="0" y="1160958"/>
            <a:ext cx="12192000" cy="60959"/>
          </a:xfrm>
          <a:prstGeom prst="rect">
            <a:avLst/>
          </a:prstGeom>
        </p:spPr>
      </p:pic>
      <p:sp>
        <p:nvSpPr>
          <p:cNvPr id="10" name="Datumsplatzhalter 1">
            <a:extLst>
              <a:ext uri="{FF2B5EF4-FFF2-40B4-BE49-F238E27FC236}">
                <a16:creationId xmlns:a16="http://schemas.microsoft.com/office/drawing/2014/main" id="{DF0874CD-FF2F-495E-AAE5-72A1FDE74D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32467" y="6420519"/>
            <a:ext cx="2759939" cy="365125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10.11.2023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B11100-E98A-432B-A981-2A9F928BC1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05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33" b="0" i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/>
              <a:t>SofDCar Consortium, funded by</a:t>
            </a:r>
            <a:endParaRPr lang="de-DE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2D378019-889D-40A6-84FE-043FAFD8D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7963" y="6420519"/>
            <a:ext cx="1311204" cy="365125"/>
          </a:xfrm>
          <a:prstGeom prst="rect">
            <a:avLst/>
          </a:prstGeom>
        </p:spPr>
        <p:txBody>
          <a:bodyPr/>
          <a:lstStyle>
            <a:lvl1pPr algn="r">
              <a:defRPr sz="933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C09F1C-3B72-4207-BEA7-CEF3226CC2D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98883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+ Untertitel mit Inhalt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E7783A7-C43E-4010-ABB7-6B203A63DA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34267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E7783A7-C43E-4010-ABB7-6B203A63D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B138899-9619-A49E-1EDB-C0C7C367C87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32467" y="6420519"/>
            <a:ext cx="2759939" cy="365125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10.11.2023</a:t>
            </a:r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92E9496-2974-C585-5E70-4528173A8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05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33" b="0" i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/>
              <a:t>SofDCar Consortium, funded by</a:t>
            </a:r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76AED734-9DA6-955D-8511-BB358F5AB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7963" y="6420519"/>
            <a:ext cx="1311204" cy="365125"/>
          </a:xfrm>
          <a:prstGeom prst="rect">
            <a:avLst/>
          </a:prstGeom>
        </p:spPr>
        <p:txBody>
          <a:bodyPr/>
          <a:lstStyle>
            <a:lvl1pPr algn="r">
              <a:defRPr sz="933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C09F1C-3B72-4207-BEA7-CEF3226CC2D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7097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+ Untertitel mit 2 Inhalten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2D6248-5B14-6245-A6DF-84F37580AEA9}"/>
              </a:ext>
            </a:extLst>
          </p:cNvPr>
          <p:cNvSpPr/>
          <p:nvPr userDrawn="1"/>
        </p:nvSpPr>
        <p:spPr>
          <a:xfrm>
            <a:off x="0" y="-14178"/>
            <a:ext cx="12192000" cy="122191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63000">
                <a:schemeClr val="accent4">
                  <a:lumMod val="40000"/>
                  <a:lumOff val="60000"/>
                  <a:alpha val="7492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E63713-9BD6-4E4D-8D90-58DFB7F5A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467" y="347109"/>
            <a:ext cx="9792840" cy="332399"/>
          </a:xfrm>
          <a:prstGeom prst="rect">
            <a:avLst/>
          </a:prstGeom>
        </p:spPr>
        <p:txBody>
          <a:bodyPr vert="horz" wrap="square" tIns="0" bIns="0">
            <a:spAutoFit/>
          </a:bodyPr>
          <a:lstStyle>
            <a:lvl1pPr>
              <a:defRPr sz="2400" b="0" i="0" cap="none">
                <a:solidFill>
                  <a:srgbClr val="080F0A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2899900-BB4E-4557-932C-CBA908AE5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770109"/>
            <a:ext cx="9790872" cy="2215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rgbClr val="080F0A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Untertitel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E7783A7-C43E-4010-ABB7-6B203A63DA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035528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E7783A7-C43E-4010-ABB7-6B203A63D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A01D6753-D4C0-F64F-9AD5-E451C8D0AF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557964" y="481411"/>
            <a:ext cx="1292659" cy="22159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6917A17-EA15-364A-A295-07ADD0FCBF3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V="1">
            <a:off x="0" y="1160958"/>
            <a:ext cx="12192000" cy="60959"/>
          </a:xfrm>
          <a:prstGeom prst="rect">
            <a:avLst/>
          </a:prstGeom>
        </p:spPr>
      </p:pic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69A2ABF2-A600-414A-9B5A-65C8D7B777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21018"/>
            <a:ext cx="5655733" cy="4555945"/>
          </a:xfrm>
        </p:spPr>
        <p:txBody>
          <a:bodyPr/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Datumsplatzhalter 1">
            <a:extLst>
              <a:ext uri="{FF2B5EF4-FFF2-40B4-BE49-F238E27FC236}">
                <a16:creationId xmlns:a16="http://schemas.microsoft.com/office/drawing/2014/main" id="{505A57E5-F078-5A47-95D9-405F41E4DDA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32467" y="6420519"/>
            <a:ext cx="2759939" cy="365125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10.11.2023</a:t>
            </a:r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D2C9DC-F316-7D40-B978-CF9FA02E2F1C}"/>
              </a:ext>
            </a:extLst>
          </p:cNvPr>
          <p:cNvCxnSpPr>
            <a:cxnSpLocks/>
          </p:cNvCxnSpPr>
          <p:nvPr userDrawn="1"/>
        </p:nvCxnSpPr>
        <p:spPr>
          <a:xfrm>
            <a:off x="6087533" y="1621018"/>
            <a:ext cx="0" cy="455594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4A5B559-6794-43A2-BAD5-076115D01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05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33" b="0" i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/>
              <a:t>SofDCar Consortium, funded by</a:t>
            </a:r>
            <a:endParaRPr lang="de-DE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1F82E267-23C7-4037-86F1-24CBE470B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7963" y="6420519"/>
            <a:ext cx="1311204" cy="365125"/>
          </a:xfrm>
          <a:prstGeom prst="rect">
            <a:avLst/>
          </a:prstGeom>
        </p:spPr>
        <p:txBody>
          <a:bodyPr/>
          <a:lstStyle>
            <a:lvl1pPr algn="r">
              <a:defRPr sz="933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C09F1C-3B72-4207-BEA7-CEF3226CC2D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5B06E76-A8ED-4314-8380-AD216DE6E23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32467" y="1621018"/>
            <a:ext cx="5655733" cy="4555945"/>
          </a:xfrm>
        </p:spPr>
        <p:txBody>
          <a:bodyPr/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28599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+ Untertitel mit 1/3 2/3 Inhalten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2D6248-5B14-6245-A6DF-84F37580AEA9}"/>
              </a:ext>
            </a:extLst>
          </p:cNvPr>
          <p:cNvSpPr/>
          <p:nvPr userDrawn="1"/>
        </p:nvSpPr>
        <p:spPr>
          <a:xfrm>
            <a:off x="0" y="-14178"/>
            <a:ext cx="12192000" cy="122191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63000">
                <a:schemeClr val="accent4">
                  <a:lumMod val="40000"/>
                  <a:lumOff val="60000"/>
                  <a:alpha val="74920"/>
                </a:schemeClr>
              </a:gs>
              <a:gs pos="100000">
                <a:schemeClr val="bg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E63713-9BD6-4E4D-8D90-58DFB7F5A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467" y="347109"/>
            <a:ext cx="9792840" cy="332399"/>
          </a:xfrm>
          <a:prstGeom prst="rect">
            <a:avLst/>
          </a:prstGeom>
        </p:spPr>
        <p:txBody>
          <a:bodyPr vert="horz" wrap="square" tIns="0" bIns="0">
            <a:spAutoFit/>
          </a:bodyPr>
          <a:lstStyle>
            <a:lvl1pPr>
              <a:defRPr sz="2400" b="0" i="0" cap="none">
                <a:solidFill>
                  <a:srgbClr val="080F0A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2899900-BB4E-4557-932C-CBA908AE5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770109"/>
            <a:ext cx="9790872" cy="2215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rgbClr val="080F0A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Untertitel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E7783A7-C43E-4010-ABB7-6B203A63DA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16092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E7783A7-C43E-4010-ABB7-6B203A63D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>
            <a:extLst>
              <a:ext uri="{FF2B5EF4-FFF2-40B4-BE49-F238E27FC236}">
                <a16:creationId xmlns:a16="http://schemas.microsoft.com/office/drawing/2014/main" id="{A01D6753-D4C0-F64F-9AD5-E451C8D0AF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557964" y="481411"/>
            <a:ext cx="1292659" cy="22159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6917A17-EA15-364A-A295-07ADD0FCBF3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V="1">
            <a:off x="0" y="1160958"/>
            <a:ext cx="12192000" cy="60959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76C54315-707A-F443-99A2-6C6120B6CE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621020"/>
            <a:ext cx="7789333" cy="4555944"/>
          </a:xfrm>
        </p:spPr>
        <p:txBody>
          <a:bodyPr/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9F75D72-E808-9341-B3CE-C918D7B8E57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4433" y="1621020"/>
            <a:ext cx="3540284" cy="4555945"/>
          </a:xfrm>
        </p:spPr>
        <p:txBody>
          <a:bodyPr/>
          <a:lstStyle>
            <a:lvl1pPr>
              <a:spcBef>
                <a:spcPts val="800"/>
              </a:spcBef>
              <a:buClr>
                <a:schemeClr val="tx1"/>
              </a:buCl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BEA1C1B-000F-9F48-909E-1996EAE4D4CA}"/>
              </a:ext>
            </a:extLst>
          </p:cNvPr>
          <p:cNvCxnSpPr/>
          <p:nvPr userDrawn="1"/>
        </p:nvCxnSpPr>
        <p:spPr>
          <a:xfrm>
            <a:off x="3970341" y="1621018"/>
            <a:ext cx="0" cy="455594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umsplatzhalter 1">
            <a:extLst>
              <a:ext uri="{FF2B5EF4-FFF2-40B4-BE49-F238E27FC236}">
                <a16:creationId xmlns:a16="http://schemas.microsoft.com/office/drawing/2014/main" id="{E7D8BF1B-89F2-435C-822F-3915E6A2485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32467" y="6420519"/>
            <a:ext cx="2759939" cy="365125"/>
          </a:xfrm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10.11.2023</a:t>
            </a:r>
            <a:endParaRPr lang="en-US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E3FA1BD-47C7-435F-A14B-2DAF417E95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05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33" b="0" i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/>
              <a:t>SofDCar Consortium, funded by</a:t>
            </a:r>
            <a:endParaRPr lang="de-DE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005EDA7E-CFE6-4328-895C-0CDE480C5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7963" y="6420519"/>
            <a:ext cx="1311204" cy="365125"/>
          </a:xfrm>
          <a:prstGeom prst="rect">
            <a:avLst/>
          </a:prstGeom>
        </p:spPr>
        <p:txBody>
          <a:bodyPr/>
          <a:lstStyle>
            <a:lvl1pPr algn="r">
              <a:defRPr sz="933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3C09F1C-3B72-4207-BEA7-CEF3226CC2D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73445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Abschnittsfolie_bunt">
    <p:bg>
      <p:bgPr>
        <a:solidFill>
          <a:srgbClr val="070E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phic 41">
            <a:extLst>
              <a:ext uri="{FF2B5EF4-FFF2-40B4-BE49-F238E27FC236}">
                <a16:creationId xmlns:a16="http://schemas.microsoft.com/office/drawing/2014/main" id="{2C052CEC-FA36-6C46-ABB5-7AB9F4DCAD6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76DE6452-902E-0E4A-BE02-7AC22CCE92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V="1">
            <a:off x="0" y="4791471"/>
            <a:ext cx="12192000" cy="60959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380D371-AA24-48B4-B3D8-C138CF57E4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201" y="3861795"/>
            <a:ext cx="9799244" cy="664797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>
              <a:defRPr sz="4800" b="0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ADAEAAA7-CADD-4746-BFF8-88A9F526B4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1201" y="5107713"/>
            <a:ext cx="9799244" cy="2954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133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F5B498B-DA0E-45F8-B219-C6B0D40A9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9012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Folie" r:id="rId8" imgW="473" imgH="476" progId="TCLayout.ActiveDocument.1">
                  <p:embed/>
                </p:oleObj>
              </mc:Choice>
              <mc:Fallback>
                <p:oleObj name="think-cell Folie" r:id="rId8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F5B498B-DA0E-45F8-B219-C6B0D40A9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Graphic 42">
            <a:extLst>
              <a:ext uri="{FF2B5EF4-FFF2-40B4-BE49-F238E27FC236}">
                <a16:creationId xmlns:a16="http://schemas.microsoft.com/office/drawing/2014/main" id="{63C07F76-9B47-3D41-A9B9-EEFE856C316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57965" y="481411"/>
            <a:ext cx="1292660" cy="22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703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3" pos="5602">
          <p15:clr>
            <a:srgbClr val="FBAE40"/>
          </p15:clr>
        </p15:guide>
        <p15:guide id="4" pos="15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Abschnittsfolie_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6F7BAB3-0128-3A40-B5FC-7BA4895349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94000">
                <a:schemeClr val="accent4">
                  <a:lumMod val="40000"/>
                  <a:lumOff val="60000"/>
                  <a:alpha val="74920"/>
                </a:schemeClr>
              </a:gs>
              <a:gs pos="100000">
                <a:schemeClr val="bg1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S" sz="2400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76DE6452-902E-0E4A-BE02-7AC22CCE92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V="1">
            <a:off x="0" y="4791471"/>
            <a:ext cx="12192000" cy="60959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380D371-AA24-48B4-B3D8-C138CF57E4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201" y="3861795"/>
            <a:ext cx="9799244" cy="664797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>
              <a:defRPr sz="4800" b="0" i="0" cap="none" baseline="0">
                <a:solidFill>
                  <a:srgbClr val="080F0A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F5B498B-DA0E-45F8-B219-C6B0D40A9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71063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Folie" r:id="rId6" imgW="473" imgH="476" progId="TCLayout.ActiveDocument.1">
                  <p:embed/>
                </p:oleObj>
              </mc:Choice>
              <mc:Fallback>
                <p:oleObj name="think-cell Folie" r:id="rId6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F5B498B-DA0E-45F8-B219-C6B0D40A9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Graphic 42">
            <a:extLst>
              <a:ext uri="{FF2B5EF4-FFF2-40B4-BE49-F238E27FC236}">
                <a16:creationId xmlns:a16="http://schemas.microsoft.com/office/drawing/2014/main" id="{63C07F76-9B47-3D41-A9B9-EEFE856C316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557964" y="481411"/>
            <a:ext cx="1292659" cy="221599"/>
          </a:xfrm>
          <a:prstGeom prst="rect">
            <a:avLst/>
          </a:prstGeom>
        </p:spPr>
      </p:pic>
      <p:sp>
        <p:nvSpPr>
          <p:cNvPr id="23" name="Subtitle 2">
            <a:extLst>
              <a:ext uri="{FF2B5EF4-FFF2-40B4-BE49-F238E27FC236}">
                <a16:creationId xmlns:a16="http://schemas.microsoft.com/office/drawing/2014/main" id="{ADAEAAA7-CADD-4746-BFF8-88A9F526B4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1201" y="5107713"/>
            <a:ext cx="9799244" cy="2954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133" b="0" i="0" baseline="0">
                <a:solidFill>
                  <a:srgbClr val="080F0A"/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118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3" pos="5602">
          <p15:clr>
            <a:srgbClr val="FBAE40"/>
          </p15:clr>
        </p15:guide>
        <p15:guide id="4" pos="15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19549D-8868-D6CD-2A2B-823DDCD96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5C1925-AA00-AD53-89B0-B74EFB46D1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954743A-3DF3-E35E-A508-249AFD4E43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31498B-4724-78ED-B7E1-218F7723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60F5BE-870D-3D93-0512-DDAC14F61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7532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0B2EE6-C7BF-C9AC-2A65-9C1ED0288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A74A711-FCB3-FFF6-0E20-47E54469F0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683204-CF01-0E2F-81C3-7386B97B21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6CF58B0-888C-6626-87EC-CEC5C8362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A1B0DB-400F-B19F-86CF-1D980164F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738BE18-B2D7-E8DC-DBAA-EC73C2AFE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348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EC54D2-D640-4990-4886-42ACA47B6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3468FE-3711-D5A4-7B93-FFE87DE0F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4C3D9B0-6DB8-D1EF-7D3D-9CAB913AD6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F054514-5CF7-B6A2-547D-03A104B3F3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B97F3A-57B2-1814-33A8-CBF95F6B26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F4E7DC4-129F-3EEF-7651-C473868E23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10CAC8E-191D-4275-3F53-FE40569E0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F469CEA-F567-B877-690C-88310E4CA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5239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9303D8-B004-0CE3-9F35-8CC6D72CC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8FF4DD-3096-DF80-4891-137F22A7D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5474B8-DCBF-1C5E-D1B3-16ECA5C79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97E2F2-7295-0776-D4ED-7840B7269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0184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C79561F-078D-28F6-E045-F9A0DC67F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2D57E32-D887-83A8-C495-8FCC918A2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4E1AB41-5F77-E9F3-7F77-2EAF942ED1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92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DCE75-496B-3907-9188-C578BD99A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D4A65D-646E-83EE-6E73-66F4C0AC6D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F4A591-AE1C-CCBD-F057-5F037F00FA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D52AE0E-D7BE-9476-00CA-90A4128F4E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BD2486-6F05-A452-9D4F-5534FEDEF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C313147-577E-D0EA-8585-1B1681B30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25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D710D1-ADCC-0280-D49E-9152454C39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64953AB-E9F8-80B3-1A7C-D00BCD1C16B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2BA834A-1CCB-DE8E-4397-D21150B4C9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E7F7D6E-3C67-3A6B-8C3D-A3FE0CCB87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F62892C-7824-805F-5BCE-CBE8190D46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3B550E7-24F1-A979-EECE-D16C8569C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100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2FC9356-E6AB-1EF0-11D5-24E33FAC0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04DE-019B-E5AB-7CF4-5F9E7E9477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C4BA51-6801-A0A3-634B-672D5C41FE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5DEF9F-C887-49E2-8734-11F9DC28C10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9B434E-DD51-FDDC-9321-A49937D34F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460A16-C33A-FD45-D120-185FBD128D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2226D-A3D8-462D-9E20-CC8B6CAF030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35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631AAE3-8CFA-407B-A7BC-38E6832ABBD5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9281255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18" imgW="473" imgH="476" progId="TCLayout.ActiveDocument.1">
                  <p:embed/>
                </p:oleObj>
              </mc:Choice>
              <mc:Fallback>
                <p:oleObj name="think-cell Folie" r:id="rId18" imgW="473" imgH="476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631AAE3-8CFA-407B-A7BC-38E6832AB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2469" y="181411"/>
            <a:ext cx="10699015" cy="36287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/>
          <a:p>
            <a:r>
              <a:rPr lang="de-DE"/>
              <a:t>Edit tit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2467" y="6342366"/>
            <a:ext cx="2759939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933" b="0" i="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de-DE"/>
              <a:t>10.11.2023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D3984E4-DAF4-4B17-A408-995A779878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468" y="1185600"/>
            <a:ext cx="11536701" cy="50304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51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0" i="0" kern="1200" cap="all" baseline="0">
          <a:solidFill>
            <a:srgbClr val="2C3035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Calibri Light" panose="020F03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BFCBD6"/>
        </a:buClr>
        <a:buSzPct val="85000"/>
        <a:buFont typeface="Wingdings" panose="05000000000000000000" pitchFamily="2" charset="2"/>
        <a:buChar char="§"/>
        <a:defRPr sz="1867" b="0" i="0" kern="1200" baseline="0">
          <a:solidFill>
            <a:srgbClr val="2C3035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 Light" panose="020F03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BFCBD6"/>
        </a:buClr>
        <a:buSzPct val="85000"/>
        <a:buFont typeface="Wingdings" panose="05000000000000000000" pitchFamily="2" charset="2"/>
        <a:buChar char="§"/>
        <a:defRPr sz="1867" b="0" i="0" kern="1200">
          <a:solidFill>
            <a:srgbClr val="2C3035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 Light" panose="020F03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BFCBD6"/>
        </a:buClr>
        <a:buSzPct val="85000"/>
        <a:buFont typeface="Wingdings" panose="05000000000000000000" pitchFamily="2" charset="2"/>
        <a:buChar char="§"/>
        <a:defRPr sz="1867" b="0" i="0" kern="1200">
          <a:solidFill>
            <a:srgbClr val="2C3035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 Light" panose="020F03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BFCBD6"/>
        </a:buClr>
        <a:buSzPct val="85000"/>
        <a:buFont typeface="Wingdings" panose="05000000000000000000" pitchFamily="2" charset="2"/>
        <a:buChar char="§"/>
        <a:defRPr sz="1867" b="0" i="0" kern="1200">
          <a:solidFill>
            <a:srgbClr val="2C3035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 Light" panose="020F03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BFCBD6"/>
        </a:buClr>
        <a:buSzPct val="85000"/>
        <a:buFont typeface="Wingdings" panose="05000000000000000000" pitchFamily="2" charset="2"/>
        <a:buChar char="§"/>
        <a:defRPr sz="1867" b="0" i="0" kern="1200">
          <a:solidFill>
            <a:srgbClr val="2C3035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 Light" panose="020F03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58">
          <p15:clr>
            <a:srgbClr val="F26B43"/>
          </p15:clr>
        </p15:guide>
        <p15:guide id="3" pos="5602">
          <p15:clr>
            <a:srgbClr val="F26B43"/>
          </p15:clr>
        </p15:guide>
        <p15:guide id="4" orient="horz" pos="31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8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32.svg"/><Relationship Id="rId3" Type="http://schemas.openxmlformats.org/officeDocument/2006/relationships/image" Target="../media/image26.png"/><Relationship Id="rId7" Type="http://schemas.openxmlformats.org/officeDocument/2006/relationships/image" Target="../media/image28.svg"/><Relationship Id="rId12" Type="http://schemas.openxmlformats.org/officeDocument/2006/relationships/image" Target="../media/image3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7.png"/><Relationship Id="rId11" Type="http://schemas.openxmlformats.org/officeDocument/2006/relationships/image" Target="../media/image30.svg"/><Relationship Id="rId5" Type="http://schemas.openxmlformats.org/officeDocument/2006/relationships/image" Target="../media/image4.svg"/><Relationship Id="rId10" Type="http://schemas.openxmlformats.org/officeDocument/2006/relationships/image" Target="../media/image29.png"/><Relationship Id="rId4" Type="http://schemas.openxmlformats.org/officeDocument/2006/relationships/image" Target="../media/image3.png"/><Relationship Id="rId9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32.svg"/><Relationship Id="rId3" Type="http://schemas.openxmlformats.org/officeDocument/2006/relationships/image" Target="../media/image26.png"/><Relationship Id="rId7" Type="http://schemas.openxmlformats.org/officeDocument/2006/relationships/image" Target="../media/image28.svg"/><Relationship Id="rId12" Type="http://schemas.openxmlformats.org/officeDocument/2006/relationships/image" Target="../media/image3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7.png"/><Relationship Id="rId11" Type="http://schemas.openxmlformats.org/officeDocument/2006/relationships/image" Target="../media/image30.svg"/><Relationship Id="rId5" Type="http://schemas.openxmlformats.org/officeDocument/2006/relationships/image" Target="../media/image4.svg"/><Relationship Id="rId10" Type="http://schemas.openxmlformats.org/officeDocument/2006/relationships/image" Target="../media/image29.png"/><Relationship Id="rId4" Type="http://schemas.openxmlformats.org/officeDocument/2006/relationships/image" Target="../media/image3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6C0737-59A5-7417-ABBC-4B0A88A72B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6C0737-59A5-7417-ABBC-4B0A88A72B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5B8B6A-529B-FF41-BAA6-0CA4832339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201" y="2236798"/>
            <a:ext cx="9799244" cy="2289794"/>
          </a:xfrm>
        </p:spPr>
        <p:txBody>
          <a:bodyPr vert="horz"/>
          <a:lstStyle/>
          <a:p>
            <a:r>
              <a:rPr lang="de-DE" sz="2133" dirty="0"/>
              <a:t>TOPIC </a:t>
            </a:r>
            <a:r>
              <a:rPr lang="de-DE" sz="2133" dirty="0">
                <a:solidFill>
                  <a:srgbClr val="00B0F0"/>
                </a:solidFill>
              </a:rPr>
              <a:t>#4</a:t>
            </a:r>
            <a:br>
              <a:rPr lang="de-DE" sz="2133" dirty="0">
                <a:solidFill>
                  <a:srgbClr val="00B0F0"/>
                </a:solidFill>
              </a:rPr>
            </a:br>
            <a:br>
              <a:rPr lang="de-DE" dirty="0">
                <a:solidFill>
                  <a:srgbClr val="00B0F0"/>
                </a:solidFill>
              </a:rPr>
            </a:br>
            <a:r>
              <a:rPr lang="en-US" dirty="0"/>
              <a:t>Over-the-Air Update Strategies via 5G</a:t>
            </a:r>
            <a:endParaRPr lang="en-RS" dirty="0"/>
          </a:p>
        </p:txBody>
      </p:sp>
      <p:sp>
        <p:nvSpPr>
          <p:cNvPr id="16" name="Untertitel 15">
            <a:extLst>
              <a:ext uri="{FF2B5EF4-FFF2-40B4-BE49-F238E27FC236}">
                <a16:creationId xmlns:a16="http://schemas.microsoft.com/office/drawing/2014/main" id="{D1913758-4014-4DA6-97DE-5C0F18EB89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1201" y="5107712"/>
            <a:ext cx="9799244" cy="590931"/>
          </a:xfrm>
        </p:spPr>
        <p:txBody>
          <a:bodyPr/>
          <a:lstStyle/>
          <a:p>
            <a:r>
              <a:rPr lang="de-DE" dirty="0"/>
              <a:t>Matthias Weiß</a:t>
            </a:r>
            <a:br>
              <a:rPr lang="de-DE" dirty="0"/>
            </a:br>
            <a:r>
              <a:rPr lang="de-DE" dirty="0"/>
              <a:t>Universität Stuttgart</a:t>
            </a:r>
          </a:p>
        </p:txBody>
      </p:sp>
      <p:pic>
        <p:nvPicPr>
          <p:cNvPr id="3" name="Graphic 11">
            <a:extLst>
              <a:ext uri="{FF2B5EF4-FFF2-40B4-BE49-F238E27FC236}">
                <a16:creationId xmlns:a16="http://schemas.microsoft.com/office/drawing/2014/main" id="{01FE8140-9641-53B8-5971-EC4D554630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8384" y="3584017"/>
            <a:ext cx="1072417" cy="1072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5642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5ADD9B85-81F2-1481-2051-83E71B7302A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7205"/>
            <a:ext cx="12192000" cy="563079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57E7D7-CECE-CBEC-E961-9586457C6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467" y="347109"/>
            <a:ext cx="9792840" cy="332399"/>
          </a:xfrm>
        </p:spPr>
        <p:txBody>
          <a:bodyPr/>
          <a:lstStyle/>
          <a:p>
            <a:r>
              <a:rPr lang="en-US" dirty="0"/>
              <a:t>Over-the-Air Update Strategies via 5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51AEFC-A4EE-5E70-1EB9-FD24FFD80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HACKATHON TOPIC </a:t>
            </a:r>
            <a:r>
              <a:rPr lang="en-GB" dirty="0">
                <a:solidFill>
                  <a:srgbClr val="2DC0F1"/>
                </a:solidFill>
              </a:rPr>
              <a:t>#4 </a:t>
            </a:r>
            <a:endParaRPr lang="de-DE" dirty="0">
              <a:solidFill>
                <a:srgbClr val="2DC0F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B0F4D49-2357-CCEA-D177-5A662F8ADF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09585">
              <a:defRPr/>
            </a:pPr>
            <a:r>
              <a:rPr lang="de-DE">
                <a:solidFill>
                  <a:srgbClr val="1A355E">
                    <a:tint val="75000"/>
                  </a:srgbClr>
                </a:solidFill>
              </a:rPr>
              <a:t>10.11.2023</a:t>
            </a:r>
            <a:endParaRPr lang="en-US">
              <a:solidFill>
                <a:srgbClr val="1A355E">
                  <a:tint val="75000"/>
                </a:srgb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1BEB25F-4A33-D047-A97A-6D4373F65E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09585">
              <a:defRPr/>
            </a:pPr>
            <a:r>
              <a:rPr lang="en-US">
                <a:solidFill>
                  <a:srgbClr val="1A355E">
                    <a:tint val="75000"/>
                  </a:srgbClr>
                </a:solidFill>
              </a:rPr>
              <a:t>SofDCar Consortium, funded by</a:t>
            </a:r>
            <a:endParaRPr lang="de-DE">
              <a:solidFill>
                <a:srgbClr val="1A355E">
                  <a:tint val="75000"/>
                </a:srgb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FB4500-A32E-E5C1-F4DB-5807735BB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>
              <a:defRPr/>
            </a:pPr>
            <a:fld id="{C3C09F1C-3B72-4207-BEA7-CEF3226CC2D9}" type="slidenum">
              <a:rPr lang="de-DE">
                <a:solidFill>
                  <a:srgbClr val="FFFFFF">
                    <a:lumMod val="50000"/>
                  </a:srgbClr>
                </a:solidFill>
              </a:rPr>
              <a:pPr defTabSz="609585">
                <a:defRPr/>
              </a:pPr>
              <a:t>2</a:t>
            </a:fld>
            <a:endParaRPr lang="de-DE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1" name="Grafik 10" descr="Ein Bild, das Text, Screenshot, Schrift, Logo enthält.&#10;&#10;Automatisch generierte Beschreibung">
            <a:extLst>
              <a:ext uri="{FF2B5EF4-FFF2-40B4-BE49-F238E27FC236}">
                <a16:creationId xmlns:a16="http://schemas.microsoft.com/office/drawing/2014/main" id="{B833BE00-5E33-617C-97DB-1A446F7BB932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794" y="6410627"/>
            <a:ext cx="876300" cy="384908"/>
          </a:xfrm>
          <a:prstGeom prst="rect">
            <a:avLst/>
          </a:prstGeom>
        </p:spPr>
      </p:pic>
      <p:pic>
        <p:nvPicPr>
          <p:cNvPr id="56" name="Graphic 19">
            <a:extLst>
              <a:ext uri="{FF2B5EF4-FFF2-40B4-BE49-F238E27FC236}">
                <a16:creationId xmlns:a16="http://schemas.microsoft.com/office/drawing/2014/main" id="{DE03F188-590E-EB00-E814-385AA2FCFA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30221" y="3491707"/>
            <a:ext cx="1129313" cy="11293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215B0DC0-BF38-6625-3FC0-DA906D854D96}"/>
              </a:ext>
            </a:extLst>
          </p:cNvPr>
          <p:cNvGrpSpPr/>
          <p:nvPr/>
        </p:nvGrpSpPr>
        <p:grpSpPr>
          <a:xfrm>
            <a:off x="9538748" y="1240964"/>
            <a:ext cx="13218697" cy="5630797"/>
            <a:chOff x="7154060" y="930723"/>
            <a:chExt cx="9914023" cy="4223098"/>
          </a:xfrm>
        </p:grpSpPr>
        <p:sp>
          <p:nvSpPr>
            <p:cNvPr id="99" name="Gleichschenkliges Dreieck 98">
              <a:extLst>
                <a:ext uri="{FF2B5EF4-FFF2-40B4-BE49-F238E27FC236}">
                  <a16:creationId xmlns:a16="http://schemas.microsoft.com/office/drawing/2014/main" id="{621A1E5E-1A74-E9C5-63A4-70C70B32309D}"/>
                </a:ext>
              </a:extLst>
            </p:cNvPr>
            <p:cNvSpPr/>
            <p:nvPr/>
          </p:nvSpPr>
          <p:spPr>
            <a:xfrm rot="16200000">
              <a:off x="6039289" y="2045494"/>
              <a:ext cx="4223098" cy="1993556"/>
            </a:xfrm>
            <a:prstGeom prst="triangle">
              <a:avLst>
                <a:gd name="adj" fmla="val 49737"/>
              </a:avLst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100" name="Gleichschenkliges Dreieck 99">
              <a:extLst>
                <a:ext uri="{FF2B5EF4-FFF2-40B4-BE49-F238E27FC236}">
                  <a16:creationId xmlns:a16="http://schemas.microsoft.com/office/drawing/2014/main" id="{33A2858F-163C-B368-3F42-A7B680204D1E}"/>
                </a:ext>
              </a:extLst>
            </p:cNvPr>
            <p:cNvSpPr/>
            <p:nvPr/>
          </p:nvSpPr>
          <p:spPr>
            <a:xfrm rot="16200000">
              <a:off x="6423420" y="2065513"/>
              <a:ext cx="3454839" cy="1993556"/>
            </a:xfrm>
            <a:prstGeom prst="triangle">
              <a:avLst>
                <a:gd name="adj" fmla="val 50000"/>
              </a:avLst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101" name="Gleichschenkliges Dreieck 100">
              <a:extLst>
                <a:ext uri="{FF2B5EF4-FFF2-40B4-BE49-F238E27FC236}">
                  <a16:creationId xmlns:a16="http://schemas.microsoft.com/office/drawing/2014/main" id="{2A5C1A7C-ED77-AF81-F798-5614CF044BA3}"/>
                </a:ext>
              </a:extLst>
            </p:cNvPr>
            <p:cNvSpPr/>
            <p:nvPr/>
          </p:nvSpPr>
          <p:spPr>
            <a:xfrm rot="16200000">
              <a:off x="6846010" y="2053795"/>
              <a:ext cx="2609665" cy="1993556"/>
            </a:xfrm>
            <a:prstGeom prst="triangle">
              <a:avLst>
                <a:gd name="adj" fmla="val 50000"/>
              </a:avLst>
            </a:prstGeom>
            <a:solidFill>
              <a:schemeClr val="bg1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 dirty="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103" name="Rechteck 102">
              <a:extLst>
                <a:ext uri="{FF2B5EF4-FFF2-40B4-BE49-F238E27FC236}">
                  <a16:creationId xmlns:a16="http://schemas.microsoft.com/office/drawing/2014/main" id="{EC89C48B-C863-FB2F-5FCF-19ED9F9A5817}"/>
                </a:ext>
              </a:extLst>
            </p:cNvPr>
            <p:cNvSpPr/>
            <p:nvPr/>
          </p:nvSpPr>
          <p:spPr>
            <a:xfrm>
              <a:off x="9147617" y="937242"/>
              <a:ext cx="7920465" cy="420913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104" name="Rechteck 103">
              <a:extLst>
                <a:ext uri="{FF2B5EF4-FFF2-40B4-BE49-F238E27FC236}">
                  <a16:creationId xmlns:a16="http://schemas.microsoft.com/office/drawing/2014/main" id="{2C0317AA-F67D-40C9-44BC-C1B19352D78E}"/>
                </a:ext>
              </a:extLst>
            </p:cNvPr>
            <p:cNvSpPr/>
            <p:nvPr/>
          </p:nvSpPr>
          <p:spPr>
            <a:xfrm>
              <a:off x="9147618" y="1334872"/>
              <a:ext cx="7920465" cy="3452667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105" name="Rechteck 104">
              <a:extLst>
                <a:ext uri="{FF2B5EF4-FFF2-40B4-BE49-F238E27FC236}">
                  <a16:creationId xmlns:a16="http://schemas.microsoft.com/office/drawing/2014/main" id="{34D5BA5C-48C1-D75D-9B0D-62B3D0C698DD}"/>
                </a:ext>
              </a:extLst>
            </p:cNvPr>
            <p:cNvSpPr/>
            <p:nvPr/>
          </p:nvSpPr>
          <p:spPr>
            <a:xfrm>
              <a:off x="9147618" y="1745741"/>
              <a:ext cx="7920465" cy="2607227"/>
            </a:xfrm>
            <a:prstGeom prst="rect">
              <a:avLst/>
            </a:prstGeom>
            <a:solidFill>
              <a:schemeClr val="bg1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</p:grpSp>
      <p:sp>
        <p:nvSpPr>
          <p:cNvPr id="141" name="Rechteck 140">
            <a:extLst>
              <a:ext uri="{FF2B5EF4-FFF2-40B4-BE49-F238E27FC236}">
                <a16:creationId xmlns:a16="http://schemas.microsoft.com/office/drawing/2014/main" id="{CBE29886-D45F-D89B-F20C-03831496E9D0}"/>
              </a:ext>
            </a:extLst>
          </p:cNvPr>
          <p:cNvSpPr/>
          <p:nvPr/>
        </p:nvSpPr>
        <p:spPr>
          <a:xfrm>
            <a:off x="332467" y="1421315"/>
            <a:ext cx="4108935" cy="22008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r>
              <a:rPr lang="de-DE" sz="1867" i="1" dirty="0">
                <a:solidFill>
                  <a:srgbClr val="FFFFFF">
                    <a:lumMod val="50000"/>
                  </a:srgbClr>
                </a:solidFill>
                <a:latin typeface="Calibri Light"/>
              </a:rPr>
              <a:t>Platzhalter Bild</a:t>
            </a:r>
          </a:p>
        </p:txBody>
      </p:sp>
      <p:sp>
        <p:nvSpPr>
          <p:cNvPr id="142" name="object 3">
            <a:extLst>
              <a:ext uri="{FF2B5EF4-FFF2-40B4-BE49-F238E27FC236}">
                <a16:creationId xmlns:a16="http://schemas.microsoft.com/office/drawing/2014/main" id="{29FDA622-18EA-41AC-3DBF-1AF279486B12}"/>
              </a:ext>
            </a:extLst>
          </p:cNvPr>
          <p:cNvSpPr/>
          <p:nvPr/>
        </p:nvSpPr>
        <p:spPr>
          <a:xfrm>
            <a:off x="4578979" y="1425658"/>
            <a:ext cx="4914596" cy="2200825"/>
          </a:xfrm>
          <a:custGeom>
            <a:avLst/>
            <a:gdLst/>
            <a:ahLst/>
            <a:cxnLst/>
            <a:rect l="l" t="t" r="r" b="b"/>
            <a:pathLst>
              <a:path w="7036434" h="11057255">
                <a:moveTo>
                  <a:pt x="7036434" y="0"/>
                </a:moveTo>
                <a:lnTo>
                  <a:pt x="0" y="0"/>
                </a:lnTo>
                <a:lnTo>
                  <a:pt x="0" y="11057254"/>
                </a:lnTo>
                <a:lnTo>
                  <a:pt x="7036434" y="11057254"/>
                </a:lnTo>
                <a:lnTo>
                  <a:pt x="7036434" y="0"/>
                </a:lnTo>
                <a:close/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wrap="square" lIns="144000" tIns="96000" rIns="144000" bIns="96000" rtlCol="0"/>
          <a:lstStyle/>
          <a:p>
            <a:pPr defTabSz="609585">
              <a:spcAft>
                <a:spcPts val="800"/>
              </a:spcAft>
              <a:defRPr/>
            </a:pPr>
            <a:r>
              <a:rPr lang="en-GB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US" sz="133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ault scenario: Distributed deployment between 5G clients and servers inside Arena2036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US" sz="133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d: Introduction of edge cache, move servers to actual cloud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endParaRPr lang="en-US" sz="1333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endParaRPr lang="en-GB" sz="1333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5568F2E2-E2FE-4610-CD87-D3D041A66B36}"/>
              </a:ext>
            </a:extLst>
          </p:cNvPr>
          <p:cNvSpPr txBox="1"/>
          <p:nvPr/>
        </p:nvSpPr>
        <p:spPr>
          <a:xfrm>
            <a:off x="8805869" y="2799391"/>
            <a:ext cx="5501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>
              <a:defRPr/>
            </a:pPr>
            <a:r>
              <a:rPr lang="en-GB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</a:t>
            </a:r>
          </a:p>
        </p:txBody>
      </p:sp>
      <p:sp>
        <p:nvSpPr>
          <p:cNvPr id="145" name="object 3">
            <a:extLst>
              <a:ext uri="{FF2B5EF4-FFF2-40B4-BE49-F238E27FC236}">
                <a16:creationId xmlns:a16="http://schemas.microsoft.com/office/drawing/2014/main" id="{2BF5088A-1EF6-EC6F-D857-5365398927E5}"/>
              </a:ext>
            </a:extLst>
          </p:cNvPr>
          <p:cNvSpPr/>
          <p:nvPr/>
        </p:nvSpPr>
        <p:spPr>
          <a:xfrm>
            <a:off x="332468" y="3861980"/>
            <a:ext cx="2956833" cy="2421077"/>
          </a:xfrm>
          <a:custGeom>
            <a:avLst/>
            <a:gdLst/>
            <a:ahLst/>
            <a:cxnLst/>
            <a:rect l="l" t="t" r="r" b="b"/>
            <a:pathLst>
              <a:path w="7036434" h="11057255">
                <a:moveTo>
                  <a:pt x="7036434" y="0"/>
                </a:moveTo>
                <a:lnTo>
                  <a:pt x="0" y="0"/>
                </a:lnTo>
                <a:lnTo>
                  <a:pt x="0" y="11057254"/>
                </a:lnTo>
                <a:lnTo>
                  <a:pt x="7036434" y="11057254"/>
                </a:lnTo>
                <a:lnTo>
                  <a:pt x="7036434" y="0"/>
                </a:lnTo>
                <a:close/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wrap="square" lIns="96000" tIns="96000" rIns="48000" bIns="96000" rtlCol="0"/>
          <a:lstStyle/>
          <a:p>
            <a:pPr defTabSz="609585">
              <a:spcAft>
                <a:spcPts val="800"/>
              </a:spcAft>
              <a:defRPr/>
            </a:pPr>
            <a:r>
              <a:rPr lang="en-GB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 description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 the default scenario and conduct 5G measurements for different OTA strategies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d the prototype by implementing the edge cache and moving the server to cloud backend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endParaRPr lang="en-GB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endParaRPr lang="en-GB" sz="1467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object 3">
            <a:extLst>
              <a:ext uri="{FF2B5EF4-FFF2-40B4-BE49-F238E27FC236}">
                <a16:creationId xmlns:a16="http://schemas.microsoft.com/office/drawing/2014/main" id="{1A8A4D85-E2B5-C78C-7821-3980DF55149E}"/>
              </a:ext>
            </a:extLst>
          </p:cNvPr>
          <p:cNvSpPr/>
          <p:nvPr/>
        </p:nvSpPr>
        <p:spPr>
          <a:xfrm>
            <a:off x="3434605" y="3861980"/>
            <a:ext cx="2956832" cy="2421077"/>
          </a:xfrm>
          <a:custGeom>
            <a:avLst/>
            <a:gdLst/>
            <a:ahLst/>
            <a:cxnLst/>
            <a:rect l="l" t="t" r="r" b="b"/>
            <a:pathLst>
              <a:path w="7036434" h="11057255">
                <a:moveTo>
                  <a:pt x="7036434" y="0"/>
                </a:moveTo>
                <a:lnTo>
                  <a:pt x="0" y="0"/>
                </a:lnTo>
                <a:lnTo>
                  <a:pt x="0" y="11057254"/>
                </a:lnTo>
                <a:lnTo>
                  <a:pt x="7036434" y="11057254"/>
                </a:lnTo>
                <a:lnTo>
                  <a:pt x="7036434" y="0"/>
                </a:lnTo>
                <a:close/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wrap="square" lIns="144000" tIns="96000" rIns="144000" bIns="96000" rtlCol="0"/>
          <a:lstStyle/>
          <a:p>
            <a:pPr defTabSz="609585">
              <a:spcAft>
                <a:spcPts val="800"/>
              </a:spcAft>
              <a:defRPr/>
            </a:pPr>
            <a:r>
              <a:rPr lang="en-GB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 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GB" sz="126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lone 5G network by Nokia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GB" sz="126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a Service Backend on Linux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GB" sz="126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/Edge technologies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GB" sz="126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s such as Raspberry </a:t>
            </a:r>
            <a:r>
              <a:rPr lang="en-GB" sz="1267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</a:t>
            </a:r>
            <a:endParaRPr lang="en-GB" sz="1267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endParaRPr lang="en-GB" sz="1467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object 3">
            <a:extLst>
              <a:ext uri="{FF2B5EF4-FFF2-40B4-BE49-F238E27FC236}">
                <a16:creationId xmlns:a16="http://schemas.microsoft.com/office/drawing/2014/main" id="{9214F7CB-4CD4-70B1-48A9-F8AAE652C4F6}"/>
              </a:ext>
            </a:extLst>
          </p:cNvPr>
          <p:cNvSpPr/>
          <p:nvPr/>
        </p:nvSpPr>
        <p:spPr>
          <a:xfrm>
            <a:off x="6536744" y="3861981"/>
            <a:ext cx="2956832" cy="2421079"/>
          </a:xfrm>
          <a:custGeom>
            <a:avLst/>
            <a:gdLst/>
            <a:ahLst/>
            <a:cxnLst/>
            <a:rect l="l" t="t" r="r" b="b"/>
            <a:pathLst>
              <a:path w="7036434" h="11057255">
                <a:moveTo>
                  <a:pt x="7036434" y="0"/>
                </a:moveTo>
                <a:lnTo>
                  <a:pt x="0" y="0"/>
                </a:lnTo>
                <a:lnTo>
                  <a:pt x="0" y="11057254"/>
                </a:lnTo>
                <a:lnTo>
                  <a:pt x="7036434" y="11057254"/>
                </a:lnTo>
                <a:lnTo>
                  <a:pt x="7036434" y="0"/>
                </a:lnTo>
                <a:close/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wrap="square" lIns="144000" tIns="96000" rIns="144000" bIns="96000" rtlCol="0"/>
          <a:lstStyle/>
          <a:p>
            <a:pPr defTabSz="609585">
              <a:spcAft>
                <a:spcPts val="800"/>
              </a:spcAft>
              <a:defRPr/>
            </a:pPr>
            <a:r>
              <a:rPr lang="en-GB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keep in mind …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d to very good programming skills in Java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 to gain hands-on experience with OTA updates, 5G technologies etc.</a:t>
            </a:r>
          </a:p>
          <a:p>
            <a:pPr marL="239178" indent="-239178" defTabSz="609585"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ledge in Git, SSH, Shell/Bash, microcontrollers like Raspberry </a:t>
            </a:r>
            <a:r>
              <a:rPr lang="en-US" sz="12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</a:t>
            </a: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loud/edge computing concepts, and web development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DA2CB557-6762-DAAE-2525-BEA653D080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9203" y="3137977"/>
            <a:ext cx="381000" cy="39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F77E1939-FCBC-CE98-5FA2-2A2218A9AA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8750" y="3519248"/>
            <a:ext cx="1072989" cy="10729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55FA1AC-9E18-468B-9C14-62C60F434A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6247" y="1475371"/>
            <a:ext cx="2882804" cy="2115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396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5ADD9B85-81F2-1481-2051-83E71B7302A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7333"/>
            <a:ext cx="12192000" cy="563079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57E7D7-CECE-CBEC-E961-9586457C6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-the-Air Update Strategies via 5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51AEFC-A4EE-5E70-1EB9-FD24FFD80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5" y="770109"/>
            <a:ext cx="9790872" cy="221599"/>
          </a:xfrm>
        </p:spPr>
        <p:txBody>
          <a:bodyPr/>
          <a:lstStyle/>
          <a:p>
            <a:r>
              <a:rPr lang="en-GB" dirty="0"/>
              <a:t>HACKATHON TOPIC </a:t>
            </a:r>
            <a:r>
              <a:rPr lang="en-GB" dirty="0">
                <a:solidFill>
                  <a:srgbClr val="2DC0F1"/>
                </a:solidFill>
              </a:rPr>
              <a:t>#4 </a:t>
            </a:r>
            <a:endParaRPr lang="de-DE" dirty="0">
              <a:solidFill>
                <a:srgbClr val="2DC0F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B0F4D49-2357-CCEA-D177-5A662F8ADF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09585">
              <a:defRPr/>
            </a:pPr>
            <a:r>
              <a:rPr lang="de-DE">
                <a:solidFill>
                  <a:srgbClr val="1A355E">
                    <a:tint val="75000"/>
                  </a:srgbClr>
                </a:solidFill>
              </a:rPr>
              <a:t>10.11.2023</a:t>
            </a:r>
            <a:endParaRPr lang="en-US">
              <a:solidFill>
                <a:srgbClr val="1A355E">
                  <a:tint val="75000"/>
                </a:srgbClr>
              </a:solidFill>
            </a:endParaRPr>
          </a:p>
        </p:txBody>
      </p: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82AF0CE2-8E20-74F6-75B4-CE5EB6BDFA0B}"/>
              </a:ext>
            </a:extLst>
          </p:cNvPr>
          <p:cNvGrpSpPr/>
          <p:nvPr/>
        </p:nvGrpSpPr>
        <p:grpSpPr>
          <a:xfrm>
            <a:off x="-1026697" y="1227332"/>
            <a:ext cx="13218697" cy="5630797"/>
            <a:chOff x="7154060" y="930723"/>
            <a:chExt cx="9914023" cy="4223098"/>
          </a:xfrm>
        </p:grpSpPr>
        <p:sp>
          <p:nvSpPr>
            <p:cNvPr id="95" name="Gleichschenkliges Dreieck 94">
              <a:extLst>
                <a:ext uri="{FF2B5EF4-FFF2-40B4-BE49-F238E27FC236}">
                  <a16:creationId xmlns:a16="http://schemas.microsoft.com/office/drawing/2014/main" id="{B1161099-555A-6032-9BEF-8EF957073A80}"/>
                </a:ext>
              </a:extLst>
            </p:cNvPr>
            <p:cNvSpPr/>
            <p:nvPr/>
          </p:nvSpPr>
          <p:spPr>
            <a:xfrm rot="16200000">
              <a:off x="6039289" y="2045494"/>
              <a:ext cx="4223098" cy="1993556"/>
            </a:xfrm>
            <a:prstGeom prst="triangle">
              <a:avLst>
                <a:gd name="adj" fmla="val 49737"/>
              </a:avLst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96" name="Gleichschenkliges Dreieck 95">
              <a:extLst>
                <a:ext uri="{FF2B5EF4-FFF2-40B4-BE49-F238E27FC236}">
                  <a16:creationId xmlns:a16="http://schemas.microsoft.com/office/drawing/2014/main" id="{AA5FE011-676F-7F2C-3B5F-B0A57FCB0E41}"/>
                </a:ext>
              </a:extLst>
            </p:cNvPr>
            <p:cNvSpPr/>
            <p:nvPr/>
          </p:nvSpPr>
          <p:spPr>
            <a:xfrm rot="16200000">
              <a:off x="6423420" y="2065513"/>
              <a:ext cx="3454839" cy="1993556"/>
            </a:xfrm>
            <a:prstGeom prst="triangle">
              <a:avLst>
                <a:gd name="adj" fmla="val 50000"/>
              </a:avLst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97" name="Gleichschenkliges Dreieck 96">
              <a:extLst>
                <a:ext uri="{FF2B5EF4-FFF2-40B4-BE49-F238E27FC236}">
                  <a16:creationId xmlns:a16="http://schemas.microsoft.com/office/drawing/2014/main" id="{B434BEE0-C8ED-118D-7791-6D3E76921497}"/>
                </a:ext>
              </a:extLst>
            </p:cNvPr>
            <p:cNvSpPr/>
            <p:nvPr/>
          </p:nvSpPr>
          <p:spPr>
            <a:xfrm rot="16200000">
              <a:off x="6846010" y="2053795"/>
              <a:ext cx="2609665" cy="1993556"/>
            </a:xfrm>
            <a:prstGeom prst="triangle">
              <a:avLst>
                <a:gd name="adj" fmla="val 50000"/>
              </a:avLst>
            </a:prstGeom>
            <a:solidFill>
              <a:schemeClr val="bg1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 dirty="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9807A037-ABE4-AB7C-27F9-2B69ADE3CE79}"/>
                </a:ext>
              </a:extLst>
            </p:cNvPr>
            <p:cNvSpPr/>
            <p:nvPr/>
          </p:nvSpPr>
          <p:spPr>
            <a:xfrm>
              <a:off x="9147617" y="937242"/>
              <a:ext cx="7920465" cy="420913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BE5E7041-17CF-F798-836C-340BFB800FF6}"/>
                </a:ext>
              </a:extLst>
            </p:cNvPr>
            <p:cNvSpPr/>
            <p:nvPr/>
          </p:nvSpPr>
          <p:spPr>
            <a:xfrm>
              <a:off x="9147618" y="1334872"/>
              <a:ext cx="7920465" cy="3452667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73A905EB-AD04-10AE-05E2-CF316875C990}"/>
                </a:ext>
              </a:extLst>
            </p:cNvPr>
            <p:cNvSpPr/>
            <p:nvPr/>
          </p:nvSpPr>
          <p:spPr>
            <a:xfrm>
              <a:off x="9147618" y="1745741"/>
              <a:ext cx="7920465" cy="2607227"/>
            </a:xfrm>
            <a:prstGeom prst="rect">
              <a:avLst/>
            </a:prstGeom>
            <a:solidFill>
              <a:schemeClr val="bg1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1BEB25F-4A33-D047-A97A-6D4373F65E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09585">
              <a:defRPr/>
            </a:pPr>
            <a:r>
              <a:rPr lang="en-US" dirty="0">
                <a:solidFill>
                  <a:srgbClr val="000611"/>
                </a:solidFill>
              </a:rPr>
              <a:t>SofDCar Consortium, funded by</a:t>
            </a:r>
            <a:endParaRPr lang="de-DE" dirty="0">
              <a:solidFill>
                <a:srgbClr val="000611"/>
              </a:solidFill>
            </a:endParaRPr>
          </a:p>
        </p:txBody>
      </p:sp>
      <p:pic>
        <p:nvPicPr>
          <p:cNvPr id="102" name="Grafik 101">
            <a:extLst>
              <a:ext uri="{FF2B5EF4-FFF2-40B4-BE49-F238E27FC236}">
                <a16:creationId xmlns:a16="http://schemas.microsoft.com/office/drawing/2014/main" id="{BD9768B7-C2B6-70FA-3144-1886CA288C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712"/>
          <a:stretch/>
        </p:blipFill>
        <p:spPr>
          <a:xfrm>
            <a:off x="2052546" y="2314021"/>
            <a:ext cx="5703201" cy="3476304"/>
          </a:xfrm>
          <a:prstGeom prst="rect">
            <a:avLst/>
          </a:prstGeom>
        </p:spPr>
      </p:pic>
      <p:pic>
        <p:nvPicPr>
          <p:cNvPr id="108" name="Graphic 36">
            <a:extLst>
              <a:ext uri="{FF2B5EF4-FFF2-40B4-BE49-F238E27FC236}">
                <a16:creationId xmlns:a16="http://schemas.microsoft.com/office/drawing/2014/main" id="{8E9C97BE-56AE-8A15-0642-54EC52E938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 flipV="1">
            <a:off x="2566055" y="4021695"/>
            <a:ext cx="2581503" cy="60959"/>
          </a:xfrm>
          <a:prstGeom prst="rect">
            <a:avLst/>
          </a:prstGeom>
        </p:spPr>
      </p:pic>
      <p:sp>
        <p:nvSpPr>
          <p:cNvPr id="113" name="object 3">
            <a:extLst>
              <a:ext uri="{FF2B5EF4-FFF2-40B4-BE49-F238E27FC236}">
                <a16:creationId xmlns:a16="http://schemas.microsoft.com/office/drawing/2014/main" id="{366B0E35-1B1A-4B32-FE70-0E389C496A65}"/>
              </a:ext>
            </a:extLst>
          </p:cNvPr>
          <p:cNvSpPr/>
          <p:nvPr/>
        </p:nvSpPr>
        <p:spPr>
          <a:xfrm>
            <a:off x="8006065" y="2761422"/>
            <a:ext cx="3935617" cy="2869247"/>
          </a:xfrm>
          <a:custGeom>
            <a:avLst/>
            <a:gdLst/>
            <a:ahLst/>
            <a:cxnLst/>
            <a:rect l="l" t="t" r="r" b="b"/>
            <a:pathLst>
              <a:path w="7036434" h="11057255">
                <a:moveTo>
                  <a:pt x="7036434" y="0"/>
                </a:moveTo>
                <a:lnTo>
                  <a:pt x="0" y="0"/>
                </a:lnTo>
                <a:lnTo>
                  <a:pt x="0" y="11057254"/>
                </a:lnTo>
                <a:lnTo>
                  <a:pt x="7036434" y="11057254"/>
                </a:lnTo>
                <a:lnTo>
                  <a:pt x="7036434" y="0"/>
                </a:lnTo>
                <a:close/>
              </a:path>
            </a:pathLst>
          </a:custGeom>
          <a:noFill/>
          <a:ln w="12700">
            <a:solidFill>
              <a:srgbClr val="0C0A6A"/>
            </a:solidFill>
          </a:ln>
        </p:spPr>
        <p:txBody>
          <a:bodyPr wrap="square" lIns="144000" tIns="96000" rIns="144000" bIns="96000" rtlCol="0"/>
          <a:lstStyle/>
          <a:p>
            <a:pPr algn="ctr" defTabSz="609585">
              <a:defRPr/>
            </a:pPr>
            <a:endParaRPr lang="de-DE" sz="1867" b="1" dirty="0">
              <a:solidFill>
                <a:srgbClr val="1A35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>
              <a:defRPr/>
            </a:pPr>
            <a:r>
              <a:rPr lang="de-DE" sz="1867" b="1" dirty="0">
                <a:solidFill>
                  <a:srgbClr val="0C0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  AVAILABILITY  FOR</a:t>
            </a:r>
            <a:br>
              <a:rPr lang="de-DE" sz="1867" b="1" dirty="0">
                <a:solidFill>
                  <a:srgbClr val="0C0A6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67" b="1" dirty="0">
                <a:solidFill>
                  <a:srgbClr val="0C0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RRING  &amp;  COACHING</a:t>
            </a:r>
          </a:p>
          <a:p>
            <a:pPr defTabSz="609585">
              <a:defRPr/>
            </a:pPr>
            <a:endParaRPr lang="de-DE" sz="1333" dirty="0">
              <a:solidFill>
                <a:srgbClr val="0000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endParaRPr lang="de-DE" sz="1333" dirty="0">
              <a:solidFill>
                <a:srgbClr val="1A35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r>
              <a:rPr lang="de-DE" sz="1467" b="1" dirty="0">
                <a:solidFill>
                  <a:srgbClr val="1A3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IDAY | 10.11.2023</a:t>
            </a:r>
          </a:p>
          <a:p>
            <a:pPr marL="476239" indent="-228594" defTabSz="609585">
              <a:buFont typeface="Wingdings" panose="05000000000000000000" pitchFamily="2" charset="2"/>
              <a:buChar char="§"/>
              <a:defRPr/>
            </a:pPr>
            <a:r>
              <a:rPr lang="de-DE" sz="1467" dirty="0">
                <a:solidFill>
                  <a:srgbClr val="1A3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:00 am – open end</a:t>
            </a:r>
          </a:p>
          <a:p>
            <a:pPr defTabSz="609585">
              <a:defRPr/>
            </a:pPr>
            <a:endParaRPr lang="de-DE" sz="1467" dirty="0">
              <a:solidFill>
                <a:srgbClr val="1A35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endParaRPr lang="de-DE" sz="1467" dirty="0">
              <a:solidFill>
                <a:srgbClr val="1A35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r>
              <a:rPr lang="de-DE" sz="1467" b="1" dirty="0">
                <a:solidFill>
                  <a:srgbClr val="1A3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URDAY | 11.11.2023</a:t>
            </a:r>
          </a:p>
          <a:p>
            <a:pPr marL="476239" indent="-228594" defTabSz="609585">
              <a:buFont typeface="Wingdings" panose="05000000000000000000" pitchFamily="2" charset="2"/>
              <a:buChar char="§"/>
              <a:defRPr/>
            </a:pPr>
            <a:r>
              <a:rPr lang="de-DE" sz="1467" dirty="0">
                <a:solidFill>
                  <a:srgbClr val="1A3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:00 am – open end</a:t>
            </a: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C49E54C4-E105-7297-F73C-475C0D340140}"/>
              </a:ext>
            </a:extLst>
          </p:cNvPr>
          <p:cNvSpPr/>
          <p:nvPr/>
        </p:nvSpPr>
        <p:spPr>
          <a:xfrm>
            <a:off x="9632072" y="2390021"/>
            <a:ext cx="683600" cy="683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de-DE" sz="2400">
              <a:solidFill>
                <a:srgbClr val="FFFFFF"/>
              </a:solidFill>
              <a:latin typeface="Calibri Light"/>
            </a:endParaRPr>
          </a:p>
        </p:txBody>
      </p:sp>
      <p:pic>
        <p:nvPicPr>
          <p:cNvPr id="115" name="Grafik 114" descr="Tageskalender mit einfarbiger Füllung">
            <a:extLst>
              <a:ext uri="{FF2B5EF4-FFF2-40B4-BE49-F238E27FC236}">
                <a16:creationId xmlns:a16="http://schemas.microsoft.com/office/drawing/2014/main" id="{94B66AC8-B220-BE1E-C1FA-EBDA27ACBD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48873" y="2494049"/>
            <a:ext cx="449999" cy="449999"/>
          </a:xfrm>
          <a:prstGeom prst="rect">
            <a:avLst/>
          </a:prstGeom>
        </p:spPr>
      </p:pic>
      <p:pic>
        <p:nvPicPr>
          <p:cNvPr id="4" name="Grafik 3" descr="Ein Bild, das Text, Screenshot, Schrift, Logo enthält.&#10;&#10;Automatisch generierte Beschreibung">
            <a:extLst>
              <a:ext uri="{FF2B5EF4-FFF2-40B4-BE49-F238E27FC236}">
                <a16:creationId xmlns:a16="http://schemas.microsoft.com/office/drawing/2014/main" id="{DB909787-B1A9-FA1E-2D2C-DBFBCD030C39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794" y="6410627"/>
            <a:ext cx="876300" cy="384908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1306EB-4139-5D06-7F43-843179735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>
              <a:defRPr/>
            </a:pPr>
            <a:fld id="{C3C09F1C-3B72-4207-BEA7-CEF3226CC2D9}" type="slidenum">
              <a:rPr lang="de-DE">
                <a:solidFill>
                  <a:srgbClr val="FFFFFF">
                    <a:lumMod val="50000"/>
                  </a:srgbClr>
                </a:solidFill>
              </a:rPr>
              <a:pPr defTabSz="609585">
                <a:defRPr/>
              </a:pPr>
              <a:t>3</a:t>
            </a:fld>
            <a:endParaRPr lang="de-DE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2DD5F7F-1779-2D69-8E45-C0CCECAB5B5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4680" y="3469131"/>
            <a:ext cx="1072989" cy="10729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2D18C79C-FC6B-D07B-1EC0-90E9D019AC75}"/>
              </a:ext>
            </a:extLst>
          </p:cNvPr>
          <p:cNvSpPr txBox="1"/>
          <p:nvPr/>
        </p:nvSpPr>
        <p:spPr>
          <a:xfrm>
            <a:off x="4143966" y="3708286"/>
            <a:ext cx="30341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spcAft>
                <a:spcPts val="800"/>
              </a:spcAft>
              <a:defRPr/>
            </a:pPr>
            <a:r>
              <a:rPr lang="de-DE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thias Weiß</a:t>
            </a:r>
          </a:p>
        </p:txBody>
      </p:sp>
      <p:pic>
        <p:nvPicPr>
          <p:cNvPr id="22" name="Grafik 21" descr="Gebäude Silhouette">
            <a:extLst>
              <a:ext uri="{FF2B5EF4-FFF2-40B4-BE49-F238E27FC236}">
                <a16:creationId xmlns:a16="http://schemas.microsoft.com/office/drawing/2014/main" id="{56926431-24C8-50A3-19E2-D7FAA64DD7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84957" y="4636216"/>
            <a:ext cx="367553" cy="367553"/>
          </a:xfrm>
          <a:prstGeom prst="rect">
            <a:avLst/>
          </a:prstGeom>
        </p:spPr>
      </p:pic>
      <p:pic>
        <p:nvPicPr>
          <p:cNvPr id="23" name="Grafik 22" descr="Umschlag Silhouette">
            <a:extLst>
              <a:ext uri="{FF2B5EF4-FFF2-40B4-BE49-F238E27FC236}">
                <a16:creationId xmlns:a16="http://schemas.microsoft.com/office/drawing/2014/main" id="{B0677544-30DF-221F-4FE1-FFCE22537D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143141" y="5049970"/>
            <a:ext cx="278023" cy="278023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3DFDED9A-6AD1-B7E0-5FE9-4C1C5344BB17}"/>
              </a:ext>
            </a:extLst>
          </p:cNvPr>
          <p:cNvSpPr txBox="1"/>
          <p:nvPr/>
        </p:nvSpPr>
        <p:spPr>
          <a:xfrm>
            <a:off x="4564307" y="4657045"/>
            <a:ext cx="250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spcAft>
                <a:spcPts val="800"/>
              </a:spcAft>
              <a:defRPr/>
            </a:pPr>
            <a:r>
              <a:rPr lang="de-DE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ät Stuttgar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67CFB11-B71F-7437-94A6-D8C1FA04C0A3}"/>
              </a:ext>
            </a:extLst>
          </p:cNvPr>
          <p:cNvSpPr txBox="1"/>
          <p:nvPr/>
        </p:nvSpPr>
        <p:spPr>
          <a:xfrm>
            <a:off x="4564308" y="5005531"/>
            <a:ext cx="33856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spcAft>
                <a:spcPts val="800"/>
              </a:spcAft>
              <a:defRPr/>
            </a:pPr>
            <a:r>
              <a:rPr lang="de-DE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thias.weiss@ias.uni-stuttgart.de</a:t>
            </a:r>
          </a:p>
        </p:txBody>
      </p:sp>
    </p:spTree>
    <p:extLst>
      <p:ext uri="{BB962C8B-B14F-4D97-AF65-F5344CB8AC3E}">
        <p14:creationId xmlns:p14="http://schemas.microsoft.com/office/powerpoint/2010/main" val="3568443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5ADD9B85-81F2-1481-2051-83E71B7302A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7333"/>
            <a:ext cx="12192000" cy="563079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57E7D7-CECE-CBEC-E961-9586457C6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-the-Air Update Strategies via 5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51AEFC-A4EE-5E70-1EB9-FD24FFD80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435" y="770109"/>
            <a:ext cx="9790872" cy="221599"/>
          </a:xfrm>
        </p:spPr>
        <p:txBody>
          <a:bodyPr/>
          <a:lstStyle/>
          <a:p>
            <a:r>
              <a:rPr lang="en-GB" dirty="0"/>
              <a:t>HACKATHON TOPIC </a:t>
            </a:r>
            <a:r>
              <a:rPr lang="en-GB" dirty="0">
                <a:solidFill>
                  <a:srgbClr val="2DC0F1"/>
                </a:solidFill>
              </a:rPr>
              <a:t>#4 </a:t>
            </a:r>
            <a:endParaRPr lang="de-DE" dirty="0">
              <a:solidFill>
                <a:srgbClr val="2DC0F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B0F4D49-2357-CCEA-D177-5A662F8ADF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09585">
              <a:defRPr/>
            </a:pPr>
            <a:r>
              <a:rPr lang="de-DE">
                <a:solidFill>
                  <a:srgbClr val="1A355E">
                    <a:tint val="75000"/>
                  </a:srgbClr>
                </a:solidFill>
              </a:rPr>
              <a:t>10.11.2023</a:t>
            </a:r>
            <a:endParaRPr lang="en-US">
              <a:solidFill>
                <a:srgbClr val="1A355E">
                  <a:tint val="75000"/>
                </a:srgbClr>
              </a:solidFill>
            </a:endParaRPr>
          </a:p>
        </p:txBody>
      </p: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82AF0CE2-8E20-74F6-75B4-CE5EB6BDFA0B}"/>
              </a:ext>
            </a:extLst>
          </p:cNvPr>
          <p:cNvGrpSpPr/>
          <p:nvPr/>
        </p:nvGrpSpPr>
        <p:grpSpPr>
          <a:xfrm>
            <a:off x="-1026697" y="1227332"/>
            <a:ext cx="13218697" cy="5630797"/>
            <a:chOff x="7154060" y="930723"/>
            <a:chExt cx="9914023" cy="4223098"/>
          </a:xfrm>
        </p:grpSpPr>
        <p:sp>
          <p:nvSpPr>
            <p:cNvPr id="95" name="Gleichschenkliges Dreieck 94">
              <a:extLst>
                <a:ext uri="{FF2B5EF4-FFF2-40B4-BE49-F238E27FC236}">
                  <a16:creationId xmlns:a16="http://schemas.microsoft.com/office/drawing/2014/main" id="{B1161099-555A-6032-9BEF-8EF957073A80}"/>
                </a:ext>
              </a:extLst>
            </p:cNvPr>
            <p:cNvSpPr/>
            <p:nvPr/>
          </p:nvSpPr>
          <p:spPr>
            <a:xfrm rot="16200000">
              <a:off x="6039289" y="2045494"/>
              <a:ext cx="4223098" cy="1993556"/>
            </a:xfrm>
            <a:prstGeom prst="triangle">
              <a:avLst>
                <a:gd name="adj" fmla="val 49737"/>
              </a:avLst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96" name="Gleichschenkliges Dreieck 95">
              <a:extLst>
                <a:ext uri="{FF2B5EF4-FFF2-40B4-BE49-F238E27FC236}">
                  <a16:creationId xmlns:a16="http://schemas.microsoft.com/office/drawing/2014/main" id="{AA5FE011-676F-7F2C-3B5F-B0A57FCB0E41}"/>
                </a:ext>
              </a:extLst>
            </p:cNvPr>
            <p:cNvSpPr/>
            <p:nvPr/>
          </p:nvSpPr>
          <p:spPr>
            <a:xfrm rot="16200000">
              <a:off x="6423420" y="2065513"/>
              <a:ext cx="3454839" cy="1993556"/>
            </a:xfrm>
            <a:prstGeom prst="triangle">
              <a:avLst>
                <a:gd name="adj" fmla="val 50000"/>
              </a:avLst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97" name="Gleichschenkliges Dreieck 96">
              <a:extLst>
                <a:ext uri="{FF2B5EF4-FFF2-40B4-BE49-F238E27FC236}">
                  <a16:creationId xmlns:a16="http://schemas.microsoft.com/office/drawing/2014/main" id="{B434BEE0-C8ED-118D-7791-6D3E76921497}"/>
                </a:ext>
              </a:extLst>
            </p:cNvPr>
            <p:cNvSpPr/>
            <p:nvPr/>
          </p:nvSpPr>
          <p:spPr>
            <a:xfrm rot="16200000">
              <a:off x="6846010" y="2053795"/>
              <a:ext cx="2609665" cy="1993556"/>
            </a:xfrm>
            <a:prstGeom prst="triangle">
              <a:avLst>
                <a:gd name="adj" fmla="val 50000"/>
              </a:avLst>
            </a:prstGeom>
            <a:solidFill>
              <a:schemeClr val="bg1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 dirty="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9807A037-ABE4-AB7C-27F9-2B69ADE3CE79}"/>
                </a:ext>
              </a:extLst>
            </p:cNvPr>
            <p:cNvSpPr/>
            <p:nvPr/>
          </p:nvSpPr>
          <p:spPr>
            <a:xfrm>
              <a:off x="9147617" y="937242"/>
              <a:ext cx="7920465" cy="420913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BE5E7041-17CF-F798-836C-340BFB800FF6}"/>
                </a:ext>
              </a:extLst>
            </p:cNvPr>
            <p:cNvSpPr/>
            <p:nvPr/>
          </p:nvSpPr>
          <p:spPr>
            <a:xfrm>
              <a:off x="9147618" y="1334872"/>
              <a:ext cx="7920465" cy="3452667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73A905EB-AD04-10AE-05E2-CF316875C990}"/>
                </a:ext>
              </a:extLst>
            </p:cNvPr>
            <p:cNvSpPr/>
            <p:nvPr/>
          </p:nvSpPr>
          <p:spPr>
            <a:xfrm>
              <a:off x="9147618" y="1745741"/>
              <a:ext cx="7920465" cy="2607227"/>
            </a:xfrm>
            <a:prstGeom prst="rect">
              <a:avLst/>
            </a:prstGeom>
            <a:solidFill>
              <a:schemeClr val="bg1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>
                <a:defRPr/>
              </a:pPr>
              <a:endParaRPr lang="en-US" sz="2400">
                <a:solidFill>
                  <a:srgbClr val="FFFFFF"/>
                </a:solidFill>
                <a:latin typeface="Calibri Light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1BEB25F-4A33-D047-A97A-6D4373F65E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09585">
              <a:defRPr/>
            </a:pPr>
            <a:r>
              <a:rPr lang="en-US" dirty="0">
                <a:solidFill>
                  <a:srgbClr val="000611"/>
                </a:solidFill>
              </a:rPr>
              <a:t>SofDCar Consortium, funded by</a:t>
            </a:r>
            <a:endParaRPr lang="de-DE" dirty="0">
              <a:solidFill>
                <a:srgbClr val="000611"/>
              </a:solidFill>
            </a:endParaRPr>
          </a:p>
        </p:txBody>
      </p:sp>
      <p:pic>
        <p:nvPicPr>
          <p:cNvPr id="102" name="Grafik 101">
            <a:extLst>
              <a:ext uri="{FF2B5EF4-FFF2-40B4-BE49-F238E27FC236}">
                <a16:creationId xmlns:a16="http://schemas.microsoft.com/office/drawing/2014/main" id="{BD9768B7-C2B6-70FA-3144-1886CA288C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712"/>
          <a:stretch/>
        </p:blipFill>
        <p:spPr>
          <a:xfrm>
            <a:off x="2052546" y="2314021"/>
            <a:ext cx="5703201" cy="3476304"/>
          </a:xfrm>
          <a:prstGeom prst="rect">
            <a:avLst/>
          </a:prstGeom>
        </p:spPr>
      </p:pic>
      <p:pic>
        <p:nvPicPr>
          <p:cNvPr id="108" name="Graphic 36">
            <a:extLst>
              <a:ext uri="{FF2B5EF4-FFF2-40B4-BE49-F238E27FC236}">
                <a16:creationId xmlns:a16="http://schemas.microsoft.com/office/drawing/2014/main" id="{8E9C97BE-56AE-8A15-0642-54EC52E938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 flipV="1">
            <a:off x="2566055" y="4021695"/>
            <a:ext cx="2581503" cy="60959"/>
          </a:xfrm>
          <a:prstGeom prst="rect">
            <a:avLst/>
          </a:prstGeom>
        </p:spPr>
      </p:pic>
      <p:sp>
        <p:nvSpPr>
          <p:cNvPr id="113" name="object 3">
            <a:extLst>
              <a:ext uri="{FF2B5EF4-FFF2-40B4-BE49-F238E27FC236}">
                <a16:creationId xmlns:a16="http://schemas.microsoft.com/office/drawing/2014/main" id="{366B0E35-1B1A-4B32-FE70-0E389C496A65}"/>
              </a:ext>
            </a:extLst>
          </p:cNvPr>
          <p:cNvSpPr/>
          <p:nvPr/>
        </p:nvSpPr>
        <p:spPr>
          <a:xfrm>
            <a:off x="8006065" y="2761422"/>
            <a:ext cx="3935617" cy="2869247"/>
          </a:xfrm>
          <a:custGeom>
            <a:avLst/>
            <a:gdLst/>
            <a:ahLst/>
            <a:cxnLst/>
            <a:rect l="l" t="t" r="r" b="b"/>
            <a:pathLst>
              <a:path w="7036434" h="11057255">
                <a:moveTo>
                  <a:pt x="7036434" y="0"/>
                </a:moveTo>
                <a:lnTo>
                  <a:pt x="0" y="0"/>
                </a:lnTo>
                <a:lnTo>
                  <a:pt x="0" y="11057254"/>
                </a:lnTo>
                <a:lnTo>
                  <a:pt x="7036434" y="11057254"/>
                </a:lnTo>
                <a:lnTo>
                  <a:pt x="7036434" y="0"/>
                </a:lnTo>
                <a:close/>
              </a:path>
            </a:pathLst>
          </a:custGeom>
          <a:noFill/>
          <a:ln w="12700">
            <a:solidFill>
              <a:srgbClr val="0C0A6A"/>
            </a:solidFill>
          </a:ln>
        </p:spPr>
        <p:txBody>
          <a:bodyPr wrap="square" lIns="144000" tIns="96000" rIns="144000" bIns="96000" rtlCol="0"/>
          <a:lstStyle/>
          <a:p>
            <a:pPr algn="ctr" defTabSz="609585">
              <a:defRPr/>
            </a:pPr>
            <a:endParaRPr lang="de-DE" sz="1867" b="1" dirty="0">
              <a:solidFill>
                <a:srgbClr val="1A35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>
              <a:defRPr/>
            </a:pPr>
            <a:r>
              <a:rPr lang="de-DE" sz="1867" b="1" dirty="0">
                <a:solidFill>
                  <a:srgbClr val="0C0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  AVAILABILITY  FOR</a:t>
            </a:r>
            <a:br>
              <a:rPr lang="de-DE" sz="1867" b="1" dirty="0">
                <a:solidFill>
                  <a:srgbClr val="0C0A6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67" b="1" dirty="0">
                <a:solidFill>
                  <a:srgbClr val="0C0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RRING  &amp;  COACHING</a:t>
            </a:r>
          </a:p>
          <a:p>
            <a:pPr defTabSz="609585">
              <a:defRPr/>
            </a:pPr>
            <a:endParaRPr lang="de-DE" sz="1333" dirty="0">
              <a:solidFill>
                <a:srgbClr val="0000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endParaRPr lang="de-DE" sz="1333" dirty="0">
              <a:solidFill>
                <a:srgbClr val="1A35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r>
              <a:rPr lang="de-DE" sz="1467" b="1" dirty="0">
                <a:solidFill>
                  <a:srgbClr val="1A3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IDAY | 10.11.2023</a:t>
            </a:r>
          </a:p>
          <a:p>
            <a:pPr marL="476239" indent="-228594" defTabSz="609585">
              <a:buFont typeface="Wingdings" panose="05000000000000000000" pitchFamily="2" charset="2"/>
              <a:buChar char="§"/>
              <a:defRPr/>
            </a:pPr>
            <a:r>
              <a:rPr lang="de-DE" sz="1467" dirty="0">
                <a:solidFill>
                  <a:srgbClr val="1A3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:00 am – open end</a:t>
            </a:r>
          </a:p>
          <a:p>
            <a:pPr defTabSz="609585">
              <a:defRPr/>
            </a:pPr>
            <a:endParaRPr lang="de-DE" sz="1467" dirty="0">
              <a:solidFill>
                <a:srgbClr val="1A35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endParaRPr lang="de-DE" sz="1467" dirty="0">
              <a:solidFill>
                <a:srgbClr val="1A35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09585">
              <a:defRPr/>
            </a:pPr>
            <a:r>
              <a:rPr lang="de-DE" sz="1467" b="1" dirty="0">
                <a:solidFill>
                  <a:srgbClr val="1A3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URDAY | 11.11.2023</a:t>
            </a:r>
          </a:p>
          <a:p>
            <a:pPr marL="476239" indent="-228594" defTabSz="609585">
              <a:buFont typeface="Wingdings" panose="05000000000000000000" pitchFamily="2" charset="2"/>
              <a:buChar char="§"/>
              <a:defRPr/>
            </a:pPr>
            <a:r>
              <a:rPr lang="de-DE" sz="1467" dirty="0">
                <a:solidFill>
                  <a:srgbClr val="1A3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:00 am – open end</a:t>
            </a: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C49E54C4-E105-7297-F73C-475C0D340140}"/>
              </a:ext>
            </a:extLst>
          </p:cNvPr>
          <p:cNvSpPr/>
          <p:nvPr/>
        </p:nvSpPr>
        <p:spPr>
          <a:xfrm>
            <a:off x="9632072" y="2390021"/>
            <a:ext cx="683600" cy="683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de-DE" sz="2400">
              <a:solidFill>
                <a:srgbClr val="FFFFFF"/>
              </a:solidFill>
              <a:latin typeface="Calibri Light"/>
            </a:endParaRPr>
          </a:p>
        </p:txBody>
      </p:sp>
      <p:pic>
        <p:nvPicPr>
          <p:cNvPr id="115" name="Grafik 114" descr="Tageskalender mit einfarbiger Füllung">
            <a:extLst>
              <a:ext uri="{FF2B5EF4-FFF2-40B4-BE49-F238E27FC236}">
                <a16:creationId xmlns:a16="http://schemas.microsoft.com/office/drawing/2014/main" id="{94B66AC8-B220-BE1E-C1FA-EBDA27ACBD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48873" y="2494049"/>
            <a:ext cx="449999" cy="449999"/>
          </a:xfrm>
          <a:prstGeom prst="rect">
            <a:avLst/>
          </a:prstGeom>
        </p:spPr>
      </p:pic>
      <p:pic>
        <p:nvPicPr>
          <p:cNvPr id="4" name="Grafik 3" descr="Ein Bild, das Text, Screenshot, Schrift, Logo enthält.&#10;&#10;Automatisch generierte Beschreibung">
            <a:extLst>
              <a:ext uri="{FF2B5EF4-FFF2-40B4-BE49-F238E27FC236}">
                <a16:creationId xmlns:a16="http://schemas.microsoft.com/office/drawing/2014/main" id="{DB909787-B1A9-FA1E-2D2C-DBFBCD030C39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794" y="6410627"/>
            <a:ext cx="876300" cy="384908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1306EB-4139-5D06-7F43-843179735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>
              <a:defRPr/>
            </a:pPr>
            <a:fld id="{C3C09F1C-3B72-4207-BEA7-CEF3226CC2D9}" type="slidenum">
              <a:rPr lang="de-DE">
                <a:solidFill>
                  <a:srgbClr val="FFFFFF">
                    <a:lumMod val="50000"/>
                  </a:srgbClr>
                </a:solidFill>
              </a:rPr>
              <a:pPr defTabSz="609585">
                <a:defRPr/>
              </a:pPr>
              <a:t>4</a:t>
            </a:fld>
            <a:endParaRPr lang="de-DE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2DD5F7F-1779-2D69-8E45-C0CCECAB5B5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4680" y="3469131"/>
            <a:ext cx="1072989" cy="10729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2D18C79C-FC6B-D07B-1EC0-90E9D019AC75}"/>
              </a:ext>
            </a:extLst>
          </p:cNvPr>
          <p:cNvSpPr txBox="1"/>
          <p:nvPr/>
        </p:nvSpPr>
        <p:spPr>
          <a:xfrm>
            <a:off x="4143966" y="3708286"/>
            <a:ext cx="30341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spcAft>
                <a:spcPts val="800"/>
              </a:spcAft>
              <a:defRPr/>
            </a:pPr>
            <a:r>
              <a:rPr lang="de-DE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es Stötzner</a:t>
            </a:r>
          </a:p>
        </p:txBody>
      </p:sp>
      <p:pic>
        <p:nvPicPr>
          <p:cNvPr id="22" name="Grafik 21" descr="Gebäude Silhouette">
            <a:extLst>
              <a:ext uri="{FF2B5EF4-FFF2-40B4-BE49-F238E27FC236}">
                <a16:creationId xmlns:a16="http://schemas.microsoft.com/office/drawing/2014/main" id="{56926431-24C8-50A3-19E2-D7FAA64DD7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84957" y="4636216"/>
            <a:ext cx="367553" cy="367553"/>
          </a:xfrm>
          <a:prstGeom prst="rect">
            <a:avLst/>
          </a:prstGeom>
        </p:spPr>
      </p:pic>
      <p:pic>
        <p:nvPicPr>
          <p:cNvPr id="23" name="Grafik 22" descr="Umschlag Silhouette">
            <a:extLst>
              <a:ext uri="{FF2B5EF4-FFF2-40B4-BE49-F238E27FC236}">
                <a16:creationId xmlns:a16="http://schemas.microsoft.com/office/drawing/2014/main" id="{B0677544-30DF-221F-4FE1-FFCE22537D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143141" y="5049970"/>
            <a:ext cx="278023" cy="278023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3DFDED9A-6AD1-B7E0-5FE9-4C1C5344BB17}"/>
              </a:ext>
            </a:extLst>
          </p:cNvPr>
          <p:cNvSpPr txBox="1"/>
          <p:nvPr/>
        </p:nvSpPr>
        <p:spPr>
          <a:xfrm>
            <a:off x="4564307" y="4657045"/>
            <a:ext cx="250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spcAft>
                <a:spcPts val="800"/>
              </a:spcAft>
              <a:defRPr/>
            </a:pPr>
            <a:r>
              <a:rPr lang="de-DE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ät Stuttgar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67CFB11-B71F-7437-94A6-D8C1FA04C0A3}"/>
              </a:ext>
            </a:extLst>
          </p:cNvPr>
          <p:cNvSpPr txBox="1"/>
          <p:nvPr/>
        </p:nvSpPr>
        <p:spPr>
          <a:xfrm>
            <a:off x="4564308" y="5005531"/>
            <a:ext cx="33856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spcAft>
                <a:spcPts val="800"/>
              </a:spcAft>
              <a:defRPr/>
            </a:pPr>
            <a:r>
              <a:rPr lang="de-DE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es.stoetzner@iste.uni-stuttgart.de</a:t>
            </a:r>
          </a:p>
        </p:txBody>
      </p:sp>
    </p:spTree>
    <p:extLst>
      <p:ext uri="{BB962C8B-B14F-4D97-AF65-F5344CB8AC3E}">
        <p14:creationId xmlns:p14="http://schemas.microsoft.com/office/powerpoint/2010/main" val="4937315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SofDCar_bunt">
  <a:themeElements>
    <a:clrScheme name="P3_2020">
      <a:dk1>
        <a:srgbClr val="1A355E"/>
      </a:dk1>
      <a:lt1>
        <a:srgbClr val="FFFFFF"/>
      </a:lt1>
      <a:dk2>
        <a:srgbClr val="636363"/>
      </a:dk2>
      <a:lt2>
        <a:srgbClr val="BFCBD6"/>
      </a:lt2>
      <a:accent1>
        <a:srgbClr val="000F32"/>
      </a:accent1>
      <a:accent2>
        <a:srgbClr val="636363"/>
      </a:accent2>
      <a:accent3>
        <a:srgbClr val="B2B2B2"/>
      </a:accent3>
      <a:accent4>
        <a:srgbClr val="BFCBD6"/>
      </a:accent4>
      <a:accent5>
        <a:srgbClr val="64819C"/>
      </a:accent5>
      <a:accent6>
        <a:srgbClr val="7C7C7C"/>
      </a:accent6>
      <a:hlink>
        <a:srgbClr val="9D9D9D"/>
      </a:hlink>
      <a:folHlink>
        <a:srgbClr val="FFFFFF"/>
      </a:folHlink>
    </a:clrScheme>
    <a:fontScheme name="Benutzerdefiniert 13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4_P3" id="{86731B41-71A6-4EAD-B6F2-AC861FB12D64}" vid="{38787BD9-B78A-4230-860F-65C1156D361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6F221BE867C4BA09EA7666EC9F6E3" ma:contentTypeVersion="16" ma:contentTypeDescription="Create a new document." ma:contentTypeScope="" ma:versionID="f6bf09a84ce693d4994b6713af0730a8">
  <xsd:schema xmlns:xsd="http://www.w3.org/2001/XMLSchema" xmlns:xs="http://www.w3.org/2001/XMLSchema" xmlns:p="http://schemas.microsoft.com/office/2006/metadata/properties" xmlns:ns1="http://schemas.microsoft.com/sharepoint/v3" xmlns:ns2="c70ebba1-c7c6-4ba1-a8b6-1e8bdab19a86" xmlns:ns3="c242bf02-9bef-4162-8f03-8d0abe4e79f6" targetNamespace="http://schemas.microsoft.com/office/2006/metadata/properties" ma:root="true" ma:fieldsID="74cc5ef0e16930a7632ff9f77bf7cfde" ns1:_="" ns2:_="" ns3:_="">
    <xsd:import namespace="http://schemas.microsoft.com/sharepoint/v3"/>
    <xsd:import namespace="c70ebba1-c7c6-4ba1-a8b6-1e8bdab19a86"/>
    <xsd:import namespace="c242bf02-9bef-4162-8f03-8d0abe4e79f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1:PublishingStartDate" minOccurs="0"/>
                <xsd:element ref="ns1:PublishingExpirationDate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ebba1-c7c6-4ba1-a8b6-1e8bdab19a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d335b93-59d0-49bf-91cb-7b95fdb565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42bf02-9bef-4162-8f03-8d0abe4e79f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1ab20e1-f4e9-447c-a994-7a34b189f682}" ma:internalName="TaxCatchAll" ma:showField="CatchAllData" ma:web="c242bf02-9bef-4162-8f03-8d0abe4e79f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70ebba1-c7c6-4ba1-a8b6-1e8bdab19a86">
      <Terms xmlns="http://schemas.microsoft.com/office/infopath/2007/PartnerControls"/>
    </lcf76f155ced4ddcb4097134ff3c332f>
    <PublishingExpirationDate xmlns="http://schemas.microsoft.com/sharepoint/v3" xsi:nil="true"/>
    <TaxCatchAll xmlns="c242bf02-9bef-4162-8f03-8d0abe4e79f6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702A358-6605-4A35-9963-75B1A8F206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70ebba1-c7c6-4ba1-a8b6-1e8bdab19a86"/>
    <ds:schemaRef ds:uri="c242bf02-9bef-4162-8f03-8d0abe4e79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1D5999-C1D7-4083-BD3F-7CB7E40DC5E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2E8DF1C-A0C6-406C-B9C7-963D31793864}">
  <ds:schemaRefs>
    <ds:schemaRef ds:uri="http://schemas.microsoft.com/office/2006/metadata/properties"/>
    <ds:schemaRef ds:uri="http://schemas.microsoft.com/office/infopath/2007/PartnerControls"/>
    <ds:schemaRef ds:uri="c70ebba1-c7c6-4ba1-a8b6-1e8bdab19a86"/>
    <ds:schemaRef ds:uri="http://schemas.microsoft.com/sharepoint/v3"/>
    <ds:schemaRef ds:uri="c242bf02-9bef-4162-8f03-8d0abe4e79f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2</Words>
  <Application>Microsoft Office PowerPoint</Application>
  <PresentationFormat>Breitbild</PresentationFormat>
  <Paragraphs>61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Wingdings</vt:lpstr>
      <vt:lpstr>Office</vt:lpstr>
      <vt:lpstr>5_SofDCar_bunt</vt:lpstr>
      <vt:lpstr>think-cell Folie</vt:lpstr>
      <vt:lpstr>TOPIC #4  Over-the-Air Update Strategies via 5G</vt:lpstr>
      <vt:lpstr>Over-the-Air Update Strategies via 5G</vt:lpstr>
      <vt:lpstr>Over-the-Air Update Strategies via 5G</vt:lpstr>
      <vt:lpstr>Over-the-Air Update Strategies via 5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PIC #4  Over-the-Air Update Strategies via 5G</dc:title>
  <dc:creator>Magdalena Gaebel</dc:creator>
  <cp:lastModifiedBy>Miles Stötzner</cp:lastModifiedBy>
  <cp:revision>5</cp:revision>
  <dcterms:created xsi:type="dcterms:W3CDTF">2023-10-17T11:51:05Z</dcterms:created>
  <dcterms:modified xsi:type="dcterms:W3CDTF">2023-11-09T15:5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71b80c-ba46-4bfb-8ae2-045b5c64b754_Enabled">
    <vt:lpwstr>true</vt:lpwstr>
  </property>
  <property fmtid="{D5CDD505-2E9C-101B-9397-08002B2CF9AE}" pid="3" name="MSIP_Label_9871b80c-ba46-4bfb-8ae2-045b5c64b754_SetDate">
    <vt:lpwstr>2023-10-17T11:51:15Z</vt:lpwstr>
  </property>
  <property fmtid="{D5CDD505-2E9C-101B-9397-08002B2CF9AE}" pid="4" name="MSIP_Label_9871b80c-ba46-4bfb-8ae2-045b5c64b754_Method">
    <vt:lpwstr>Standard</vt:lpwstr>
  </property>
  <property fmtid="{D5CDD505-2E9C-101B-9397-08002B2CF9AE}" pid="5" name="MSIP_Label_9871b80c-ba46-4bfb-8ae2-045b5c64b754_Name">
    <vt:lpwstr>General</vt:lpwstr>
  </property>
  <property fmtid="{D5CDD505-2E9C-101B-9397-08002B2CF9AE}" pid="6" name="MSIP_Label_9871b80c-ba46-4bfb-8ae2-045b5c64b754_SiteId">
    <vt:lpwstr>38ea53fb-9117-4764-adc6-31f828910b30</vt:lpwstr>
  </property>
  <property fmtid="{D5CDD505-2E9C-101B-9397-08002B2CF9AE}" pid="7" name="MSIP_Label_9871b80c-ba46-4bfb-8ae2-045b5c64b754_ActionId">
    <vt:lpwstr>250801a4-a239-43b9-88c0-725077361ddd</vt:lpwstr>
  </property>
  <property fmtid="{D5CDD505-2E9C-101B-9397-08002B2CF9AE}" pid="8" name="MSIP_Label_9871b80c-ba46-4bfb-8ae2-045b5c64b754_ContentBits">
    <vt:lpwstr>0</vt:lpwstr>
  </property>
  <property fmtid="{D5CDD505-2E9C-101B-9397-08002B2CF9AE}" pid="9" name="ContentTypeId">
    <vt:lpwstr>0x010100DEE6F221BE867C4BA09EA7666EC9F6E3</vt:lpwstr>
  </property>
</Properties>
</file>